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omments/modernComment_120_6F6141F6.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3" r:id="rId6"/>
  </p:sldMasterIdLst>
  <p:sldIdLst>
    <p:sldId id="257" r:id="rId7"/>
    <p:sldId id="268" r:id="rId8"/>
    <p:sldId id="279" r:id="rId9"/>
    <p:sldId id="292" r:id="rId10"/>
    <p:sldId id="285" r:id="rId11"/>
    <p:sldId id="270" r:id="rId12"/>
    <p:sldId id="286" r:id="rId13"/>
    <p:sldId id="287" r:id="rId14"/>
    <p:sldId id="288" r:id="rId15"/>
    <p:sldId id="289" r:id="rId16"/>
    <p:sldId id="290" r:id="rId17"/>
    <p:sldId id="291" r:id="rId18"/>
    <p:sldId id="293" r:id="rId19"/>
    <p:sldId id="267" r:id="rId20"/>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F6BDC3-A126-B8CF-0930-6F2F74DA2B11}" name="Munashe Miranda Mataranyika" initials="MMM" userId="S::munashe.mataranyika@un.org::8bf34bc6-0738-49bf-bff8-dd3b9b5ac436" providerId="AD"/>
  <p188:author id="{B3180EE9-8840-252B-DBF1-C2E4DA6C7675}" name="Theo Moers" initials="" userId="S::theo.moers@un.org::93c42d6e-9ee6-4a15-ac8b-0480636beb6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len Rosengren" initials="HR" lastIdx="1" clrIdx="0">
    <p:extLst>
      <p:ext uri="{19B8F6BF-5375-455C-9EA6-DF929625EA0E}">
        <p15:presenceInfo xmlns:p15="http://schemas.microsoft.com/office/powerpoint/2012/main" userId="Helen Rosengr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DB"/>
    <a:srgbClr val="0B6F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90" y="25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eo Moers" userId="S::theo.moers@un.org::93c42d6e-9ee6-4a15-ac8b-0480636beb6e" providerId="AD" clId="Web-{26C7B8AD-89AD-416F-8EEB-25B7F488234C}"/>
    <pc:docChg chg="addSld delSld modSld">
      <pc:chgData name="Theo Moers" userId="S::theo.moers@un.org::93c42d6e-9ee6-4a15-ac8b-0480636beb6e" providerId="AD" clId="Web-{26C7B8AD-89AD-416F-8EEB-25B7F488234C}" dt="2023-09-12T15:32:08.927" v="6"/>
      <pc:docMkLst>
        <pc:docMk/>
      </pc:docMkLst>
      <pc:sldChg chg="modSp">
        <pc:chgData name="Theo Moers" userId="S::theo.moers@un.org::93c42d6e-9ee6-4a15-ac8b-0480636beb6e" providerId="AD" clId="Web-{26C7B8AD-89AD-416F-8EEB-25B7F488234C}" dt="2023-09-12T15:31:48.926" v="3"/>
        <pc:sldMkLst>
          <pc:docMk/>
          <pc:sldMk cId="2448959110" sldId="279"/>
        </pc:sldMkLst>
        <pc:spChg chg="mod">
          <ac:chgData name="Theo Moers" userId="S::theo.moers@un.org::93c42d6e-9ee6-4a15-ac8b-0480636beb6e" providerId="AD" clId="Web-{26C7B8AD-89AD-416F-8EEB-25B7F488234C}" dt="2023-09-12T15:31:48.910" v="2"/>
          <ac:spMkLst>
            <pc:docMk/>
            <pc:sldMk cId="2448959110" sldId="279"/>
            <ac:spMk id="13" creationId="{2E1016D1-8798-0B34-9EB4-1F66E4C89972}"/>
          </ac:spMkLst>
        </pc:spChg>
        <pc:spChg chg="mod">
          <ac:chgData name="Theo Moers" userId="S::theo.moers@un.org::93c42d6e-9ee6-4a15-ac8b-0480636beb6e" providerId="AD" clId="Web-{26C7B8AD-89AD-416F-8EEB-25B7F488234C}" dt="2023-09-12T15:31:48.926" v="3"/>
          <ac:spMkLst>
            <pc:docMk/>
            <pc:sldMk cId="2448959110" sldId="279"/>
            <ac:spMk id="18" creationId="{BCC7EBB6-A286-BE2C-772C-D3A9CEF87B37}"/>
          </ac:spMkLst>
        </pc:spChg>
      </pc:sldChg>
      <pc:sldChg chg="add del">
        <pc:chgData name="Theo Moers" userId="S::theo.moers@un.org::93c42d6e-9ee6-4a15-ac8b-0480636beb6e" providerId="AD" clId="Web-{26C7B8AD-89AD-416F-8EEB-25B7F488234C}" dt="2023-09-12T15:32:08.927" v="6"/>
        <pc:sldMkLst>
          <pc:docMk/>
          <pc:sldMk cId="1528276121" sldId="280"/>
        </pc:sldMkLst>
      </pc:sldChg>
    </pc:docChg>
  </pc:docChgLst>
  <pc:docChgLst>
    <pc:chgData name="Theo Moers" userId="S::theo.moers@un.org::93c42d6e-9ee6-4a15-ac8b-0480636beb6e" providerId="AD" clId="Web-{28B8C31E-CEC5-4CAF-AAF2-6F4A11655884}"/>
    <pc:docChg chg="modSld">
      <pc:chgData name="Theo Moers" userId="S::theo.moers@un.org::93c42d6e-9ee6-4a15-ac8b-0480636beb6e" providerId="AD" clId="Web-{28B8C31E-CEC5-4CAF-AAF2-6F4A11655884}" dt="2023-09-13T14:08:45.478" v="11" actId="20577"/>
      <pc:docMkLst>
        <pc:docMk/>
      </pc:docMkLst>
      <pc:sldChg chg="modSp delCm">
        <pc:chgData name="Theo Moers" userId="S::theo.moers@un.org::93c42d6e-9ee6-4a15-ac8b-0480636beb6e" providerId="AD" clId="Web-{28B8C31E-CEC5-4CAF-AAF2-6F4A11655884}" dt="2023-09-13T14:08:04.712" v="4" actId="20577"/>
        <pc:sldMkLst>
          <pc:docMk/>
          <pc:sldMk cId="3260858734" sldId="286"/>
        </pc:sldMkLst>
        <pc:spChg chg="mod">
          <ac:chgData name="Theo Moers" userId="S::theo.moers@un.org::93c42d6e-9ee6-4a15-ac8b-0480636beb6e" providerId="AD" clId="Web-{28B8C31E-CEC5-4CAF-AAF2-6F4A11655884}" dt="2023-09-13T14:08:04.712" v="4" actId="20577"/>
          <ac:spMkLst>
            <pc:docMk/>
            <pc:sldMk cId="3260858734" sldId="286"/>
            <ac:spMk id="18" creationId="{BCC7EBB6-A286-BE2C-772C-D3A9CEF87B37}"/>
          </ac:spMkLst>
        </pc:spChg>
        <pc:extLst>
          <p:ext xmlns:p="http://schemas.openxmlformats.org/presentationml/2006/main" uri="{D6D511B9-2390-475A-947B-AFAB55BFBCF1}">
            <pc226:cmChg xmlns:pc226="http://schemas.microsoft.com/office/powerpoint/2022/06/main/command" chg="del">
              <pc226:chgData name="Theo Moers" userId="S::theo.moers@un.org::93c42d6e-9ee6-4a15-ac8b-0480636beb6e" providerId="AD" clId="Web-{28B8C31E-CEC5-4CAF-AAF2-6F4A11655884}" dt="2023-09-13T14:08:01.009" v="0"/>
              <pc2:cmMkLst xmlns:pc2="http://schemas.microsoft.com/office/powerpoint/2019/9/main/command">
                <pc:docMk/>
                <pc:sldMk cId="3260858734" sldId="286"/>
                <pc2:cmMk id="{B90DB79B-C1D7-6E4A-A663-91FBBF517FB1}"/>
              </pc2:cmMkLst>
            </pc226:cmChg>
          </p:ext>
        </pc:extLst>
      </pc:sldChg>
      <pc:sldChg chg="modSp delCm">
        <pc:chgData name="Theo Moers" userId="S::theo.moers@un.org::93c42d6e-9ee6-4a15-ac8b-0480636beb6e" providerId="AD" clId="Web-{28B8C31E-CEC5-4CAF-AAF2-6F4A11655884}" dt="2023-09-13T14:08:45.478" v="11" actId="20577"/>
        <pc:sldMkLst>
          <pc:docMk/>
          <pc:sldMk cId="1365434196" sldId="287"/>
        </pc:sldMkLst>
        <pc:spChg chg="mod">
          <ac:chgData name="Theo Moers" userId="S::theo.moers@un.org::93c42d6e-9ee6-4a15-ac8b-0480636beb6e" providerId="AD" clId="Web-{28B8C31E-CEC5-4CAF-AAF2-6F4A11655884}" dt="2023-09-13T14:08:45.478" v="11" actId="20577"/>
          <ac:spMkLst>
            <pc:docMk/>
            <pc:sldMk cId="1365434196" sldId="287"/>
            <ac:spMk id="18" creationId="{BCC7EBB6-A286-BE2C-772C-D3A9CEF87B37}"/>
          </ac:spMkLst>
        </pc:spChg>
        <pc:extLst>
          <p:ext xmlns:p="http://schemas.openxmlformats.org/presentationml/2006/main" uri="{D6D511B9-2390-475A-947B-AFAB55BFBCF1}">
            <pc226:cmChg xmlns:pc226="http://schemas.microsoft.com/office/powerpoint/2022/06/main/command" chg="del">
              <pc226:chgData name="Theo Moers" userId="S::theo.moers@un.org::93c42d6e-9ee6-4a15-ac8b-0480636beb6e" providerId="AD" clId="Web-{28B8C31E-CEC5-4CAF-AAF2-6F4A11655884}" dt="2023-09-13T14:08:41.260" v="5"/>
              <pc2:cmMkLst xmlns:pc2="http://schemas.microsoft.com/office/powerpoint/2019/9/main/command">
                <pc:docMk/>
                <pc:sldMk cId="1365434196" sldId="287"/>
                <pc2:cmMk id="{2AB3F48B-E2BB-704F-81A3-C3E30930D947}"/>
              </pc2:cmMkLst>
            </pc226:cmChg>
          </p:ext>
        </pc:extLst>
      </pc:sldChg>
    </pc:docChg>
  </pc:docChgLst>
  <pc:docChgLst>
    <pc:chgData name="Munashe Miranda Mataranyika" userId="8bf34bc6-0738-49bf-bff8-dd3b9b5ac436" providerId="ADAL" clId="{B5D767DF-778C-4783-9466-6AACDB3E401D}"/>
    <pc:docChg chg="undo custSel addSld delSld modSld sldOrd">
      <pc:chgData name="Munashe Miranda Mataranyika" userId="8bf34bc6-0738-49bf-bff8-dd3b9b5ac436" providerId="ADAL" clId="{B5D767DF-778C-4783-9466-6AACDB3E401D}" dt="2023-11-30T21:19:47.022" v="422" actId="2696"/>
      <pc:docMkLst>
        <pc:docMk/>
      </pc:docMkLst>
      <pc:sldChg chg="modSp mod addCm delCm modCm">
        <pc:chgData name="Munashe Miranda Mataranyika" userId="8bf34bc6-0738-49bf-bff8-dd3b9b5ac436" providerId="ADAL" clId="{B5D767DF-778C-4783-9466-6AACDB3E401D}" dt="2023-11-29T16:48:27.787" v="29" actId="114"/>
        <pc:sldMkLst>
          <pc:docMk/>
          <pc:sldMk cId="3372306691" sldId="270"/>
        </pc:sldMkLst>
        <pc:spChg chg="mod">
          <ac:chgData name="Munashe Miranda Mataranyika" userId="8bf34bc6-0738-49bf-bff8-dd3b9b5ac436" providerId="ADAL" clId="{B5D767DF-778C-4783-9466-6AACDB3E401D}" dt="2023-11-29T16:48:27.787" v="29" actId="114"/>
          <ac:spMkLst>
            <pc:docMk/>
            <pc:sldMk cId="3372306691" sldId="270"/>
            <ac:spMk id="18" creationId="{BCC7EBB6-A286-BE2C-772C-D3A9CEF87B37}"/>
          </ac:spMkLst>
        </pc:spChg>
        <pc:extLst>
          <p:ext xmlns:p="http://schemas.openxmlformats.org/presentationml/2006/main" uri="{D6D511B9-2390-475A-947B-AFAB55BFBCF1}">
            <pc226:cmChg xmlns:pc226="http://schemas.microsoft.com/office/powerpoint/2022/06/main/command" chg="add del mod">
              <pc226:chgData name="Munashe Miranda Mataranyika" userId="8bf34bc6-0738-49bf-bff8-dd3b9b5ac436" providerId="ADAL" clId="{B5D767DF-778C-4783-9466-6AACDB3E401D}" dt="2023-11-29T16:48:12.200" v="22"/>
              <pc2:cmMkLst xmlns:pc2="http://schemas.microsoft.com/office/powerpoint/2019/9/main/command">
                <pc:docMk/>
                <pc:sldMk cId="3372306691" sldId="270"/>
                <pc2:cmMk id="{1FA526E4-4F7A-42DA-BB4C-7353B9970C63}"/>
              </pc2:cmMkLst>
            </pc226:cmChg>
          </p:ext>
        </pc:extLst>
      </pc:sldChg>
      <pc:sldChg chg="ord">
        <pc:chgData name="Munashe Miranda Mataranyika" userId="8bf34bc6-0738-49bf-bff8-dd3b9b5ac436" providerId="ADAL" clId="{B5D767DF-778C-4783-9466-6AACDB3E401D}" dt="2023-11-30T20:26:27.628" v="414"/>
        <pc:sldMkLst>
          <pc:docMk/>
          <pc:sldMk cId="676325151" sldId="285"/>
        </pc:sldMkLst>
      </pc:sldChg>
      <pc:sldChg chg="modSp mod">
        <pc:chgData name="Munashe Miranda Mataranyika" userId="8bf34bc6-0738-49bf-bff8-dd3b9b5ac436" providerId="ADAL" clId="{B5D767DF-778C-4783-9466-6AACDB3E401D}" dt="2023-11-29T16:51:07.788" v="119" actId="20577"/>
        <pc:sldMkLst>
          <pc:docMk/>
          <pc:sldMk cId="3260858734" sldId="286"/>
        </pc:sldMkLst>
        <pc:spChg chg="mod">
          <ac:chgData name="Munashe Miranda Mataranyika" userId="8bf34bc6-0738-49bf-bff8-dd3b9b5ac436" providerId="ADAL" clId="{B5D767DF-778C-4783-9466-6AACDB3E401D}" dt="2023-11-29T16:51:07.788" v="119" actId="20577"/>
          <ac:spMkLst>
            <pc:docMk/>
            <pc:sldMk cId="3260858734" sldId="286"/>
            <ac:spMk id="18" creationId="{BCC7EBB6-A286-BE2C-772C-D3A9CEF87B37}"/>
          </ac:spMkLst>
        </pc:spChg>
      </pc:sldChg>
      <pc:sldChg chg="modSp mod">
        <pc:chgData name="Munashe Miranda Mataranyika" userId="8bf34bc6-0738-49bf-bff8-dd3b9b5ac436" providerId="ADAL" clId="{B5D767DF-778C-4783-9466-6AACDB3E401D}" dt="2023-11-29T16:51:22.615" v="120" actId="115"/>
        <pc:sldMkLst>
          <pc:docMk/>
          <pc:sldMk cId="1365434196" sldId="287"/>
        </pc:sldMkLst>
        <pc:spChg chg="mod">
          <ac:chgData name="Munashe Miranda Mataranyika" userId="8bf34bc6-0738-49bf-bff8-dd3b9b5ac436" providerId="ADAL" clId="{B5D767DF-778C-4783-9466-6AACDB3E401D}" dt="2023-11-29T16:51:22.615" v="120" actId="115"/>
          <ac:spMkLst>
            <pc:docMk/>
            <pc:sldMk cId="1365434196" sldId="287"/>
            <ac:spMk id="18" creationId="{BCC7EBB6-A286-BE2C-772C-D3A9CEF87B37}"/>
          </ac:spMkLst>
        </pc:spChg>
      </pc:sldChg>
      <pc:sldChg chg="modSp mod addCm modCm">
        <pc:chgData name="Munashe Miranda Mataranyika" userId="8bf34bc6-0738-49bf-bff8-dd3b9b5ac436" providerId="ADAL" clId="{B5D767DF-778C-4783-9466-6AACDB3E401D}" dt="2023-11-30T20:58:36.340" v="421" actId="20577"/>
        <pc:sldMkLst>
          <pc:docMk/>
          <pc:sldMk cId="1868644854" sldId="288"/>
        </pc:sldMkLst>
        <pc:spChg chg="mod">
          <ac:chgData name="Munashe Miranda Mataranyika" userId="8bf34bc6-0738-49bf-bff8-dd3b9b5ac436" providerId="ADAL" clId="{B5D767DF-778C-4783-9466-6AACDB3E401D}" dt="2023-11-30T20:58:36.340" v="421" actId="20577"/>
          <ac:spMkLst>
            <pc:docMk/>
            <pc:sldMk cId="1868644854" sldId="288"/>
            <ac:spMk id="18" creationId="{BCC7EBB6-A286-BE2C-772C-D3A9CEF87B37}"/>
          </ac:spMkLst>
        </pc:spChg>
        <pc:extLst>
          <p:ext xmlns:p="http://schemas.openxmlformats.org/presentationml/2006/main" uri="{D6D511B9-2390-475A-947B-AFAB55BFBCF1}">
            <pc226:cmChg xmlns:pc226="http://schemas.microsoft.com/office/powerpoint/2022/06/main/command" chg="mod">
              <pc226:chgData name="Munashe Miranda Mataranyika" userId="8bf34bc6-0738-49bf-bff8-dd3b9b5ac436" providerId="ADAL" clId="{B5D767DF-778C-4783-9466-6AACDB3E401D}" dt="2023-11-30T20:58:36.340" v="421" actId="20577"/>
              <pc2:cmMkLst xmlns:pc2="http://schemas.microsoft.com/office/powerpoint/2019/9/main/command">
                <pc:docMk/>
                <pc:sldMk cId="1868644854" sldId="288"/>
                <pc2:cmMk id="{ED6B64AF-E61C-1448-B86D-BF74AC5B7DEB}"/>
              </pc2:cmMkLst>
            </pc226:cmChg>
            <pc226:cmChg xmlns:pc226="http://schemas.microsoft.com/office/powerpoint/2022/06/main/command" chg="add mod">
              <pc226:chgData name="Munashe Miranda Mataranyika" userId="8bf34bc6-0738-49bf-bff8-dd3b9b5ac436" providerId="ADAL" clId="{B5D767DF-778C-4783-9466-6AACDB3E401D}" dt="2023-11-30T20:58:36.340" v="421" actId="20577"/>
              <pc2:cmMkLst xmlns:pc2="http://schemas.microsoft.com/office/powerpoint/2019/9/main/command">
                <pc:docMk/>
                <pc:sldMk cId="1868644854" sldId="288"/>
                <pc2:cmMk id="{A85740C0-8E4E-4D57-B2D7-C76A6CC01BDB}"/>
              </pc2:cmMkLst>
            </pc226:cmChg>
          </p:ext>
        </pc:extLst>
      </pc:sldChg>
      <pc:sldChg chg="modSp mod">
        <pc:chgData name="Munashe Miranda Mataranyika" userId="8bf34bc6-0738-49bf-bff8-dd3b9b5ac436" providerId="ADAL" clId="{B5D767DF-778C-4783-9466-6AACDB3E401D}" dt="2023-11-28T20:35:38.316" v="2" actId="20577"/>
        <pc:sldMkLst>
          <pc:docMk/>
          <pc:sldMk cId="579808260" sldId="290"/>
        </pc:sldMkLst>
        <pc:spChg chg="mod">
          <ac:chgData name="Munashe Miranda Mataranyika" userId="8bf34bc6-0738-49bf-bff8-dd3b9b5ac436" providerId="ADAL" clId="{B5D767DF-778C-4783-9466-6AACDB3E401D}" dt="2023-11-28T20:35:38.316" v="2" actId="20577"/>
          <ac:spMkLst>
            <pc:docMk/>
            <pc:sldMk cId="579808260" sldId="290"/>
            <ac:spMk id="9" creationId="{AF51430A-C7C3-2D20-2B0D-6C1C92D76359}"/>
          </ac:spMkLst>
        </pc:spChg>
      </pc:sldChg>
      <pc:sldChg chg="modSp mod">
        <pc:chgData name="Munashe Miranda Mataranyika" userId="8bf34bc6-0738-49bf-bff8-dd3b9b5ac436" providerId="ADAL" clId="{B5D767DF-778C-4783-9466-6AACDB3E401D}" dt="2023-11-30T20:27:09.568" v="420" actId="1076"/>
        <pc:sldMkLst>
          <pc:docMk/>
          <pc:sldMk cId="3864929588" sldId="292"/>
        </pc:sldMkLst>
        <pc:spChg chg="mod">
          <ac:chgData name="Munashe Miranda Mataranyika" userId="8bf34bc6-0738-49bf-bff8-dd3b9b5ac436" providerId="ADAL" clId="{B5D767DF-778C-4783-9466-6AACDB3E401D}" dt="2023-11-30T20:26:42.100" v="416"/>
          <ac:spMkLst>
            <pc:docMk/>
            <pc:sldMk cId="3864929588" sldId="292"/>
            <ac:spMk id="18" creationId="{BCC7EBB6-A286-BE2C-772C-D3A9CEF87B37}"/>
          </ac:spMkLst>
        </pc:spChg>
        <pc:grpChg chg="mod">
          <ac:chgData name="Munashe Miranda Mataranyika" userId="8bf34bc6-0738-49bf-bff8-dd3b9b5ac436" providerId="ADAL" clId="{B5D767DF-778C-4783-9466-6AACDB3E401D}" dt="2023-11-30T20:27:09.568" v="420" actId="1076"/>
          <ac:grpSpMkLst>
            <pc:docMk/>
            <pc:sldMk cId="3864929588" sldId="292"/>
            <ac:grpSpMk id="3" creationId="{B296600A-7078-1881-ACB0-109CD108FD70}"/>
          </ac:grpSpMkLst>
        </pc:grpChg>
        <pc:picChg chg="mod">
          <ac:chgData name="Munashe Miranda Mataranyika" userId="8bf34bc6-0738-49bf-bff8-dd3b9b5ac436" providerId="ADAL" clId="{B5D767DF-778C-4783-9466-6AACDB3E401D}" dt="2023-11-30T20:26:59.035" v="418" actId="1076"/>
          <ac:picMkLst>
            <pc:docMk/>
            <pc:sldMk cId="3864929588" sldId="292"/>
            <ac:picMk id="6" creationId="{70C4E523-473B-70F8-FB18-0C6D5CC0B746}"/>
          </ac:picMkLst>
        </pc:picChg>
        <pc:picChg chg="mod">
          <ac:chgData name="Munashe Miranda Mataranyika" userId="8bf34bc6-0738-49bf-bff8-dd3b9b5ac436" providerId="ADAL" clId="{B5D767DF-778C-4783-9466-6AACDB3E401D}" dt="2023-11-30T20:27:08.684" v="419" actId="1076"/>
          <ac:picMkLst>
            <pc:docMk/>
            <pc:sldMk cId="3864929588" sldId="292"/>
            <ac:picMk id="16" creationId="{4ED303D4-A686-75AD-C828-BE18ADA85E68}"/>
          </ac:picMkLst>
        </pc:picChg>
      </pc:sldChg>
      <pc:sldChg chg="delSp modSp add del mod ord">
        <pc:chgData name="Munashe Miranda Mataranyika" userId="8bf34bc6-0738-49bf-bff8-dd3b9b5ac436" providerId="ADAL" clId="{B5D767DF-778C-4783-9466-6AACDB3E401D}" dt="2023-11-30T21:19:47.022" v="422" actId="2696"/>
        <pc:sldMkLst>
          <pc:docMk/>
          <pc:sldMk cId="1646993854" sldId="294"/>
        </pc:sldMkLst>
        <pc:spChg chg="del">
          <ac:chgData name="Munashe Miranda Mataranyika" userId="8bf34bc6-0738-49bf-bff8-dd3b9b5ac436" providerId="ADAL" clId="{B5D767DF-778C-4783-9466-6AACDB3E401D}" dt="2023-11-29T17:16:46.587" v="232" actId="478"/>
          <ac:spMkLst>
            <pc:docMk/>
            <pc:sldMk cId="1646993854" sldId="294"/>
            <ac:spMk id="8" creationId="{B9B225E8-70BF-7F9E-DCEF-603428BE7D5A}"/>
          </ac:spMkLst>
        </pc:spChg>
        <pc:spChg chg="mod">
          <ac:chgData name="Munashe Miranda Mataranyika" userId="8bf34bc6-0738-49bf-bff8-dd3b9b5ac436" providerId="ADAL" clId="{B5D767DF-778C-4783-9466-6AACDB3E401D}" dt="2023-11-29T17:17:57.006" v="410" actId="20577"/>
          <ac:spMkLst>
            <pc:docMk/>
            <pc:sldMk cId="1646993854" sldId="294"/>
            <ac:spMk id="9" creationId="{AF51430A-C7C3-2D20-2B0D-6C1C92D76359}"/>
          </ac:spMkLst>
        </pc:spChg>
        <pc:spChg chg="mod">
          <ac:chgData name="Munashe Miranda Mataranyika" userId="8bf34bc6-0738-49bf-bff8-dd3b9b5ac436" providerId="ADAL" clId="{B5D767DF-778C-4783-9466-6AACDB3E401D}" dt="2023-11-29T17:12:53.357" v="184" actId="20577"/>
          <ac:spMkLst>
            <pc:docMk/>
            <pc:sldMk cId="1646993854" sldId="294"/>
            <ac:spMk id="10" creationId="{E9B8FE5A-AE54-4675-969E-BF622F732C1E}"/>
          </ac:spMkLst>
        </pc:spChg>
      </pc:sldChg>
      <pc:sldChg chg="new del">
        <pc:chgData name="Munashe Miranda Mataranyika" userId="8bf34bc6-0738-49bf-bff8-dd3b9b5ac436" providerId="ADAL" clId="{B5D767DF-778C-4783-9466-6AACDB3E401D}" dt="2023-11-29T17:12:39.319" v="168" actId="680"/>
        <pc:sldMkLst>
          <pc:docMk/>
          <pc:sldMk cId="4117455149" sldId="294"/>
        </pc:sldMkLst>
      </pc:sldChg>
    </pc:docChg>
  </pc:docChgLst>
  <pc:docChgLst>
    <pc:chgData name="Theo Moers" userId="93c42d6e-9ee6-4a15-ac8b-0480636beb6e" providerId="ADAL" clId="{9618436E-C307-B840-9A97-9B3E4B9C1692}"/>
    <pc:docChg chg="undo custSel modSld modMainMaster replTag">
      <pc:chgData name="Theo Moers" userId="93c42d6e-9ee6-4a15-ac8b-0480636beb6e" providerId="ADAL" clId="{9618436E-C307-B840-9A97-9B3E4B9C1692}" dt="2023-09-12T18:41:07.955" v="1951" actId="207"/>
      <pc:docMkLst>
        <pc:docMk/>
      </pc:docMkLst>
      <pc:sldChg chg="addSp delSp modSp mod">
        <pc:chgData name="Theo Moers" userId="93c42d6e-9ee6-4a15-ac8b-0480636beb6e" providerId="ADAL" clId="{9618436E-C307-B840-9A97-9B3E4B9C1692}" dt="2023-09-12T16:39:22.309" v="1426" actId="20577"/>
        <pc:sldMkLst>
          <pc:docMk/>
          <pc:sldMk cId="3058390424" sldId="268"/>
        </pc:sldMkLst>
        <pc:spChg chg="mod">
          <ac:chgData name="Theo Moers" userId="93c42d6e-9ee6-4a15-ac8b-0480636beb6e" providerId="ADAL" clId="{9618436E-C307-B840-9A97-9B3E4B9C1692}" dt="2023-09-12T15:36:45.286" v="12"/>
          <ac:spMkLst>
            <pc:docMk/>
            <pc:sldMk cId="3058390424" sldId="268"/>
            <ac:spMk id="7" creationId="{DED032B6-D069-F0AD-A36C-B6BDD192C1B7}"/>
          </ac:spMkLst>
        </pc:spChg>
        <pc:spChg chg="mod">
          <ac:chgData name="Theo Moers" userId="93c42d6e-9ee6-4a15-ac8b-0480636beb6e" providerId="ADAL" clId="{9618436E-C307-B840-9A97-9B3E4B9C1692}" dt="2023-09-12T16:39:22.309" v="1426" actId="20577"/>
          <ac:spMkLst>
            <pc:docMk/>
            <pc:sldMk cId="3058390424" sldId="268"/>
            <ac:spMk id="18" creationId="{BCC7EBB6-A286-BE2C-772C-D3A9CEF87B37}"/>
          </ac:spMkLst>
        </pc:spChg>
        <pc:grpChg chg="mod">
          <ac:chgData name="Theo Moers" userId="93c42d6e-9ee6-4a15-ac8b-0480636beb6e" providerId="ADAL" clId="{9618436E-C307-B840-9A97-9B3E4B9C1692}" dt="2023-09-12T16:03:03.968" v="586" actId="1076"/>
          <ac:grpSpMkLst>
            <pc:docMk/>
            <pc:sldMk cId="3058390424" sldId="268"/>
            <ac:grpSpMk id="3" creationId="{EF68DE18-AB23-427D-9D16-FB6D405FA98F}"/>
          </ac:grpSpMkLst>
        </pc:grpChg>
        <pc:grpChg chg="add del mod">
          <ac:chgData name="Theo Moers" userId="93c42d6e-9ee6-4a15-ac8b-0480636beb6e" providerId="ADAL" clId="{9618436E-C307-B840-9A97-9B3E4B9C1692}" dt="2023-09-12T15:36:46.409" v="13"/>
          <ac:grpSpMkLst>
            <pc:docMk/>
            <pc:sldMk cId="3058390424" sldId="268"/>
            <ac:grpSpMk id="5" creationId="{F60CD032-13C3-D2D7-DF70-8B5C960025F1}"/>
          </ac:grpSpMkLst>
        </pc:grpChg>
        <pc:picChg chg="add del mod">
          <ac:chgData name="Theo Moers" userId="93c42d6e-9ee6-4a15-ac8b-0480636beb6e" providerId="ADAL" clId="{9618436E-C307-B840-9A97-9B3E4B9C1692}" dt="2023-09-12T16:07:27.205" v="800" actId="21"/>
          <ac:picMkLst>
            <pc:docMk/>
            <pc:sldMk cId="3058390424" sldId="268"/>
            <ac:picMk id="4" creationId="{F3080E6E-0F12-DAC1-0D4C-11FC385FAC67}"/>
          </ac:picMkLst>
        </pc:picChg>
        <pc:picChg chg="mod">
          <ac:chgData name="Theo Moers" userId="93c42d6e-9ee6-4a15-ac8b-0480636beb6e" providerId="ADAL" clId="{9618436E-C307-B840-9A97-9B3E4B9C1692}" dt="2023-09-12T15:36:45.286" v="12"/>
          <ac:picMkLst>
            <pc:docMk/>
            <pc:sldMk cId="3058390424" sldId="268"/>
            <ac:picMk id="6" creationId="{B6CD181D-04DC-7A9A-C0DA-F62647950C39}"/>
          </ac:picMkLst>
        </pc:picChg>
      </pc:sldChg>
      <pc:sldChg chg="addSp delSp modSp mod">
        <pc:chgData name="Theo Moers" userId="93c42d6e-9ee6-4a15-ac8b-0480636beb6e" providerId="ADAL" clId="{9618436E-C307-B840-9A97-9B3E4B9C1692}" dt="2023-09-12T16:21:38.944" v="1194" actId="12"/>
        <pc:sldMkLst>
          <pc:docMk/>
          <pc:sldMk cId="3372306691" sldId="270"/>
        </pc:sldMkLst>
        <pc:spChg chg="mod">
          <ac:chgData name="Theo Moers" userId="93c42d6e-9ee6-4a15-ac8b-0480636beb6e" providerId="ADAL" clId="{9618436E-C307-B840-9A97-9B3E4B9C1692}" dt="2023-09-12T16:21:38.944" v="1194" actId="12"/>
          <ac:spMkLst>
            <pc:docMk/>
            <pc:sldMk cId="3372306691" sldId="270"/>
            <ac:spMk id="18" creationId="{BCC7EBB6-A286-BE2C-772C-D3A9CEF87B37}"/>
          </ac:spMkLst>
        </pc:spChg>
        <pc:picChg chg="add del mod">
          <ac:chgData name="Theo Moers" userId="93c42d6e-9ee6-4a15-ac8b-0480636beb6e" providerId="ADAL" clId="{9618436E-C307-B840-9A97-9B3E4B9C1692}" dt="2023-09-12T15:38:17.612" v="274"/>
          <ac:picMkLst>
            <pc:docMk/>
            <pc:sldMk cId="3372306691" sldId="270"/>
            <ac:picMk id="2" creationId="{D17BF4ED-3E0C-C2AA-EECC-735D5B5F0F98}"/>
          </ac:picMkLst>
        </pc:picChg>
        <pc:picChg chg="add del mod">
          <ac:chgData name="Theo Moers" userId="93c42d6e-9ee6-4a15-ac8b-0480636beb6e" providerId="ADAL" clId="{9618436E-C307-B840-9A97-9B3E4B9C1692}" dt="2023-09-12T15:38:21.066" v="277" actId="1035"/>
          <ac:picMkLst>
            <pc:docMk/>
            <pc:sldMk cId="3372306691" sldId="270"/>
            <ac:picMk id="4" creationId="{F3080E6E-0F12-DAC1-0D4C-11FC385FAC67}"/>
          </ac:picMkLst>
        </pc:picChg>
      </pc:sldChg>
      <pc:sldChg chg="addSp delSp modSp mod">
        <pc:chgData name="Theo Moers" userId="93c42d6e-9ee6-4a15-ac8b-0480636beb6e" providerId="ADAL" clId="{9618436E-C307-B840-9A97-9B3E4B9C1692}" dt="2023-09-12T16:21:03.827" v="1189" actId="12"/>
        <pc:sldMkLst>
          <pc:docMk/>
          <pc:sldMk cId="2448959110" sldId="279"/>
        </pc:sldMkLst>
        <pc:spChg chg="mod">
          <ac:chgData name="Theo Moers" userId="93c42d6e-9ee6-4a15-ac8b-0480636beb6e" providerId="ADAL" clId="{9618436E-C307-B840-9A97-9B3E4B9C1692}" dt="2023-09-12T16:07:36.329" v="804"/>
          <ac:spMkLst>
            <pc:docMk/>
            <pc:sldMk cId="2448959110" sldId="279"/>
            <ac:spMk id="5" creationId="{E30C4FEE-F0DF-195B-C8DD-03AB1C6CBCCF}"/>
          </ac:spMkLst>
        </pc:spChg>
        <pc:spChg chg="add del mod">
          <ac:chgData name="Theo Moers" userId="93c42d6e-9ee6-4a15-ac8b-0480636beb6e" providerId="ADAL" clId="{9618436E-C307-B840-9A97-9B3E4B9C1692}" dt="2023-09-12T16:18:35.515" v="1168" actId="478"/>
          <ac:spMkLst>
            <pc:docMk/>
            <pc:sldMk cId="2448959110" sldId="279"/>
            <ac:spMk id="6" creationId="{703BC924-2E41-64C0-3E2A-0A00E102F3B7}"/>
          </ac:spMkLst>
        </pc:spChg>
        <pc:spChg chg="mod">
          <ac:chgData name="Theo Moers" userId="93c42d6e-9ee6-4a15-ac8b-0480636beb6e" providerId="ADAL" clId="{9618436E-C307-B840-9A97-9B3E4B9C1692}" dt="2023-09-12T15:36:32.406" v="8"/>
          <ac:spMkLst>
            <pc:docMk/>
            <pc:sldMk cId="2448959110" sldId="279"/>
            <ac:spMk id="7" creationId="{A2BC5E35-3FD3-0752-0A08-C86F02DE9464}"/>
          </ac:spMkLst>
        </pc:spChg>
        <pc:spChg chg="add mod">
          <ac:chgData name="Theo Moers" userId="93c42d6e-9ee6-4a15-ac8b-0480636beb6e" providerId="ADAL" clId="{9618436E-C307-B840-9A97-9B3E4B9C1692}" dt="2023-09-12T16:15:16.385" v="1102" actId="14100"/>
          <ac:spMkLst>
            <pc:docMk/>
            <pc:sldMk cId="2448959110" sldId="279"/>
            <ac:spMk id="7" creationId="{B8593005-AA8C-C099-7C48-0753F7594D7F}"/>
          </ac:spMkLst>
        </pc:spChg>
        <pc:spChg chg="mod">
          <ac:chgData name="Theo Moers" userId="93c42d6e-9ee6-4a15-ac8b-0480636beb6e" providerId="ADAL" clId="{9618436E-C307-B840-9A97-9B3E4B9C1692}" dt="2023-09-12T16:07:38.879" v="806"/>
          <ac:spMkLst>
            <pc:docMk/>
            <pc:sldMk cId="2448959110" sldId="279"/>
            <ac:spMk id="8" creationId="{64FA9D37-9FC0-439A-9F9D-3EDA4368ECC3}"/>
          </ac:spMkLst>
        </pc:spChg>
        <pc:spChg chg="mod">
          <ac:chgData name="Theo Moers" userId="93c42d6e-9ee6-4a15-ac8b-0480636beb6e" providerId="ADAL" clId="{9618436E-C307-B840-9A97-9B3E4B9C1692}" dt="2023-09-12T16:07:38.879" v="807"/>
          <ac:spMkLst>
            <pc:docMk/>
            <pc:sldMk cId="2448959110" sldId="279"/>
            <ac:spMk id="10" creationId="{E9B8FE5A-AE54-4675-969E-BF622F732C1E}"/>
          </ac:spMkLst>
        </pc:spChg>
        <pc:spChg chg="mod">
          <ac:chgData name="Theo Moers" userId="93c42d6e-9ee6-4a15-ac8b-0480636beb6e" providerId="ADAL" clId="{9618436E-C307-B840-9A97-9B3E4B9C1692}" dt="2023-09-12T15:37:03.465" v="19"/>
          <ac:spMkLst>
            <pc:docMk/>
            <pc:sldMk cId="2448959110" sldId="279"/>
            <ac:spMk id="12" creationId="{E2AEFADC-01DC-391F-5ECC-C48B598D684D}"/>
          </ac:spMkLst>
        </pc:spChg>
        <pc:spChg chg="mod">
          <ac:chgData name="Theo Moers" userId="93c42d6e-9ee6-4a15-ac8b-0480636beb6e" providerId="ADAL" clId="{9618436E-C307-B840-9A97-9B3E4B9C1692}" dt="2023-09-12T16:21:03.827" v="1189" actId="12"/>
          <ac:spMkLst>
            <pc:docMk/>
            <pc:sldMk cId="2448959110" sldId="279"/>
            <ac:spMk id="13" creationId="{2E1016D1-8798-0B34-9EB4-1F66E4C89972}"/>
          </ac:spMkLst>
        </pc:spChg>
        <pc:spChg chg="mod">
          <ac:chgData name="Theo Moers" userId="93c42d6e-9ee6-4a15-ac8b-0480636beb6e" providerId="ADAL" clId="{9618436E-C307-B840-9A97-9B3E4B9C1692}" dt="2023-09-12T16:20:42.741" v="1186" actId="12"/>
          <ac:spMkLst>
            <pc:docMk/>
            <pc:sldMk cId="2448959110" sldId="279"/>
            <ac:spMk id="18" creationId="{BCC7EBB6-A286-BE2C-772C-D3A9CEF87B37}"/>
          </ac:spMkLst>
        </pc:spChg>
        <pc:spChg chg="mod">
          <ac:chgData name="Theo Moers" userId="93c42d6e-9ee6-4a15-ac8b-0480636beb6e" providerId="ADAL" clId="{9618436E-C307-B840-9A97-9B3E4B9C1692}" dt="2023-09-12T15:37:55.954" v="264"/>
          <ac:spMkLst>
            <pc:docMk/>
            <pc:sldMk cId="2448959110" sldId="279"/>
            <ac:spMk id="19" creationId="{AF323178-DCAC-F4CA-2D7F-051B79064BCB}"/>
          </ac:spMkLst>
        </pc:spChg>
        <pc:grpChg chg="add mod modVis">
          <ac:chgData name="Theo Moers" userId="93c42d6e-9ee6-4a15-ac8b-0480636beb6e" providerId="ADAL" clId="{9618436E-C307-B840-9A97-9B3E4B9C1692}" dt="2023-09-12T16:14:42.590" v="1088" actId="14100"/>
          <ac:grpSpMkLst>
            <pc:docMk/>
            <pc:sldMk cId="2448959110" sldId="279"/>
            <ac:grpSpMk id="3" creationId="{6A974B6C-B2BB-80DA-35FA-7094015D3873}"/>
          </ac:grpSpMkLst>
        </pc:grpChg>
        <pc:grpChg chg="del mod">
          <ac:chgData name="Theo Moers" userId="93c42d6e-9ee6-4a15-ac8b-0480636beb6e" providerId="ADAL" clId="{9618436E-C307-B840-9A97-9B3E4B9C1692}" dt="2023-09-12T15:37:02.601" v="18" actId="478"/>
          <ac:grpSpMkLst>
            <pc:docMk/>
            <pc:sldMk cId="2448959110" sldId="279"/>
            <ac:grpSpMk id="3" creationId="{EF68DE18-AB23-427D-9D16-FB6D405FA98F}"/>
          </ac:grpSpMkLst>
        </pc:grpChg>
        <pc:grpChg chg="add del mod">
          <ac:chgData name="Theo Moers" userId="93c42d6e-9ee6-4a15-ac8b-0480636beb6e" providerId="ADAL" clId="{9618436E-C307-B840-9A97-9B3E4B9C1692}" dt="2023-09-12T15:36:33.631" v="9"/>
          <ac:grpSpMkLst>
            <pc:docMk/>
            <pc:sldMk cId="2448959110" sldId="279"/>
            <ac:grpSpMk id="5" creationId="{0CAFB2B9-49F3-6B4C-F168-01A4F8E6A49D}"/>
          </ac:grpSpMkLst>
        </pc:grpChg>
        <pc:grpChg chg="add del mod">
          <ac:chgData name="Theo Moers" userId="93c42d6e-9ee6-4a15-ac8b-0480636beb6e" providerId="ADAL" clId="{9618436E-C307-B840-9A97-9B3E4B9C1692}" dt="2023-09-12T16:07:32.487" v="803" actId="478"/>
          <ac:grpSpMkLst>
            <pc:docMk/>
            <pc:sldMk cId="2448959110" sldId="279"/>
            <ac:grpSpMk id="9" creationId="{56D200B6-9AE6-69AC-CD3D-E7E46F47B3F8}"/>
          </ac:grpSpMkLst>
        </pc:grpChg>
        <pc:grpChg chg="add del mod">
          <ac:chgData name="Theo Moers" userId="93c42d6e-9ee6-4a15-ac8b-0480636beb6e" providerId="ADAL" clId="{9618436E-C307-B840-9A97-9B3E4B9C1692}" dt="2023-09-12T15:37:57.390" v="265"/>
          <ac:grpSpMkLst>
            <pc:docMk/>
            <pc:sldMk cId="2448959110" sldId="279"/>
            <ac:grpSpMk id="16" creationId="{02AE027C-3E73-B9E1-D58C-B5E31306A1D1}"/>
          </ac:grpSpMkLst>
        </pc:grpChg>
        <pc:graphicFrameChg chg="add mod modVis replST">
          <ac:chgData name="Theo Moers" userId="93c42d6e-9ee6-4a15-ac8b-0480636beb6e" providerId="ADAL" clId="{9618436E-C307-B840-9A97-9B3E4B9C1692}" dt="2023-09-12T16:07:38.887" v="814"/>
          <ac:graphicFrameMkLst>
            <pc:docMk/>
            <pc:sldMk cId="2448959110" sldId="279"/>
            <ac:graphicFrameMk id="15" creationId="{6E4A12AF-91D3-BBBD-1038-9696E8BCB8D1}"/>
          </ac:graphicFrameMkLst>
        </pc:graphicFrameChg>
        <pc:picChg chg="add mod">
          <ac:chgData name="Theo Moers" userId="93c42d6e-9ee6-4a15-ac8b-0480636beb6e" providerId="ADAL" clId="{9618436E-C307-B840-9A97-9B3E4B9C1692}" dt="2023-09-12T16:07:38.880" v="810"/>
          <ac:picMkLst>
            <pc:docMk/>
            <pc:sldMk cId="2448959110" sldId="279"/>
            <ac:picMk id="2" creationId="{5278DB8C-D024-7F3B-DB7C-C45A73AABFE5}"/>
          </ac:picMkLst>
        </pc:picChg>
        <pc:picChg chg="mod">
          <ac:chgData name="Theo Moers" userId="93c42d6e-9ee6-4a15-ac8b-0480636beb6e" providerId="ADAL" clId="{9618436E-C307-B840-9A97-9B3E4B9C1692}" dt="2023-09-12T16:07:36.329" v="804"/>
          <ac:picMkLst>
            <pc:docMk/>
            <pc:sldMk cId="2448959110" sldId="279"/>
            <ac:picMk id="4" creationId="{2B05B778-0232-E9C4-ACBF-AF4FC374CC60}"/>
          </ac:picMkLst>
        </pc:picChg>
        <pc:picChg chg="del mod">
          <ac:chgData name="Theo Moers" userId="93c42d6e-9ee6-4a15-ac8b-0480636beb6e" providerId="ADAL" clId="{9618436E-C307-B840-9A97-9B3E4B9C1692}" dt="2023-09-12T15:37:50.166" v="263" actId="478"/>
          <ac:picMkLst>
            <pc:docMk/>
            <pc:sldMk cId="2448959110" sldId="279"/>
            <ac:picMk id="4" creationId="{F3080E6E-0F12-DAC1-0D4C-11FC385FAC67}"/>
          </ac:picMkLst>
        </pc:picChg>
        <pc:picChg chg="mod">
          <ac:chgData name="Theo Moers" userId="93c42d6e-9ee6-4a15-ac8b-0480636beb6e" providerId="ADAL" clId="{9618436E-C307-B840-9A97-9B3E4B9C1692}" dt="2023-09-12T15:36:32.406" v="8"/>
          <ac:picMkLst>
            <pc:docMk/>
            <pc:sldMk cId="2448959110" sldId="279"/>
            <ac:picMk id="6" creationId="{DBFB2948-98C9-C301-C92B-12EC57E4B873}"/>
          </ac:picMkLst>
        </pc:picChg>
        <pc:picChg chg="mod">
          <ac:chgData name="Theo Moers" userId="93c42d6e-9ee6-4a15-ac8b-0480636beb6e" providerId="ADAL" clId="{9618436E-C307-B840-9A97-9B3E4B9C1692}" dt="2023-09-12T15:37:03.465" v="19"/>
          <ac:picMkLst>
            <pc:docMk/>
            <pc:sldMk cId="2448959110" sldId="279"/>
            <ac:picMk id="11" creationId="{6E5AE799-D4CC-F2D7-E164-607D938C90D5}"/>
          </ac:picMkLst>
        </pc:picChg>
        <pc:picChg chg="mod">
          <ac:chgData name="Theo Moers" userId="93c42d6e-9ee6-4a15-ac8b-0480636beb6e" providerId="ADAL" clId="{9618436E-C307-B840-9A97-9B3E4B9C1692}" dt="2023-09-12T15:37:55.954" v="264"/>
          <ac:picMkLst>
            <pc:docMk/>
            <pc:sldMk cId="2448959110" sldId="279"/>
            <ac:picMk id="17" creationId="{829C7C23-9244-4161-C710-C2CBF42F31B4}"/>
          </ac:picMkLst>
        </pc:picChg>
        <pc:picChg chg="add del mod">
          <ac:chgData name="Theo Moers" userId="93c42d6e-9ee6-4a15-ac8b-0480636beb6e" providerId="ADAL" clId="{9618436E-C307-B840-9A97-9B3E4B9C1692}" dt="2023-09-12T16:07:29.134" v="801" actId="478"/>
          <ac:picMkLst>
            <pc:docMk/>
            <pc:sldMk cId="2448959110" sldId="279"/>
            <ac:picMk id="20" creationId="{562406AD-58A9-13C0-FB87-5D7E40F95F37}"/>
          </ac:picMkLst>
        </pc:picChg>
        <pc:cxnChg chg="add mod">
          <ac:chgData name="Theo Moers" userId="93c42d6e-9ee6-4a15-ac8b-0480636beb6e" providerId="ADAL" clId="{9618436E-C307-B840-9A97-9B3E4B9C1692}" dt="2023-09-12T16:19:12.966" v="1179" actId="14100"/>
          <ac:cxnSpMkLst>
            <pc:docMk/>
            <pc:sldMk cId="2448959110" sldId="279"/>
            <ac:cxnSpMk id="16" creationId="{7FA6B1B7-F7F3-74F4-414D-DF7F2AE01B26}"/>
          </ac:cxnSpMkLst>
        </pc:cxnChg>
      </pc:sldChg>
      <pc:sldChg chg="addSp delSp modSp mod addCm delCm">
        <pc:chgData name="Theo Moers" userId="93c42d6e-9ee6-4a15-ac8b-0480636beb6e" providerId="ADAL" clId="{9618436E-C307-B840-9A97-9B3E4B9C1692}" dt="2023-09-12T18:37:42.072" v="1923"/>
        <pc:sldMkLst>
          <pc:docMk/>
          <pc:sldMk cId="676325151" sldId="285"/>
        </pc:sldMkLst>
        <pc:spChg chg="mod">
          <ac:chgData name="Theo Moers" userId="93c42d6e-9ee6-4a15-ac8b-0480636beb6e" providerId="ADAL" clId="{9618436E-C307-B840-9A97-9B3E4B9C1692}" dt="2023-09-12T18:37:23.448" v="1922" actId="20577"/>
          <ac:spMkLst>
            <pc:docMk/>
            <pc:sldMk cId="676325151" sldId="285"/>
            <ac:spMk id="18" creationId="{BCC7EBB6-A286-BE2C-772C-D3A9CEF87B37}"/>
          </ac:spMkLst>
        </pc:spChg>
        <pc:picChg chg="add del mod">
          <ac:chgData name="Theo Moers" userId="93c42d6e-9ee6-4a15-ac8b-0480636beb6e" providerId="ADAL" clId="{9618436E-C307-B840-9A97-9B3E4B9C1692}" dt="2023-09-12T15:38:16.743" v="272"/>
          <ac:picMkLst>
            <pc:docMk/>
            <pc:sldMk cId="676325151" sldId="285"/>
            <ac:picMk id="3" creationId="{5F2B3AA8-82C1-C9F9-5654-742D79A2B9E0}"/>
          </ac:picMkLst>
        </pc:picChg>
        <pc:picChg chg="add del">
          <ac:chgData name="Theo Moers" userId="93c42d6e-9ee6-4a15-ac8b-0480636beb6e" providerId="ADAL" clId="{9618436E-C307-B840-9A97-9B3E4B9C1692}" dt="2023-09-12T15:38:17.143" v="273" actId="478"/>
          <ac:picMkLst>
            <pc:docMk/>
            <pc:sldMk cId="676325151" sldId="285"/>
            <ac:picMk id="4" creationId="{F3080E6E-0F12-DAC1-0D4C-11FC385FAC67}"/>
          </ac:picMkLst>
        </pc:picChg>
        <pc:extLst>
          <p:ext xmlns:p="http://schemas.openxmlformats.org/presentationml/2006/main" uri="{D6D511B9-2390-475A-947B-AFAB55BFBCF1}">
            <pc226:cmChg xmlns:pc226="http://schemas.microsoft.com/office/powerpoint/2022/06/main/command" chg="add del">
              <pc226:chgData name="Theo Moers" userId="93c42d6e-9ee6-4a15-ac8b-0480636beb6e" providerId="ADAL" clId="{9618436E-C307-B840-9A97-9B3E4B9C1692}" dt="2023-09-12T18:37:42.072" v="1923"/>
              <pc2:cmMkLst xmlns:pc2="http://schemas.microsoft.com/office/powerpoint/2019/9/main/command">
                <pc:docMk/>
                <pc:sldMk cId="676325151" sldId="285"/>
                <pc2:cmMk id="{E099A96E-A137-9D48-B1DE-FA04F5C53FE1}"/>
              </pc2:cmMkLst>
            </pc226:cmChg>
          </p:ext>
        </pc:extLst>
      </pc:sldChg>
      <pc:sldChg chg="modSp mod addCm delCm">
        <pc:chgData name="Theo Moers" userId="93c42d6e-9ee6-4a15-ac8b-0480636beb6e" providerId="ADAL" clId="{9618436E-C307-B840-9A97-9B3E4B9C1692}" dt="2023-09-12T18:39:54.457" v="1948"/>
        <pc:sldMkLst>
          <pc:docMk/>
          <pc:sldMk cId="3260858734" sldId="286"/>
        </pc:sldMkLst>
        <pc:spChg chg="mod">
          <ac:chgData name="Theo Moers" userId="93c42d6e-9ee6-4a15-ac8b-0480636beb6e" providerId="ADAL" clId="{9618436E-C307-B840-9A97-9B3E4B9C1692}" dt="2023-09-12T15:55:40.002" v="357" actId="20577"/>
          <ac:spMkLst>
            <pc:docMk/>
            <pc:sldMk cId="3260858734" sldId="286"/>
            <ac:spMk id="10" creationId="{E9B8FE5A-AE54-4675-969E-BF622F732C1E}"/>
          </ac:spMkLst>
        </pc:spChg>
        <pc:spChg chg="mod">
          <ac:chgData name="Theo Moers" userId="93c42d6e-9ee6-4a15-ac8b-0480636beb6e" providerId="ADAL" clId="{9618436E-C307-B840-9A97-9B3E4B9C1692}" dt="2023-09-12T18:39:38.263" v="1947" actId="20577"/>
          <ac:spMkLst>
            <pc:docMk/>
            <pc:sldMk cId="3260858734" sldId="286"/>
            <ac:spMk id="18" creationId="{BCC7EBB6-A286-BE2C-772C-D3A9CEF87B37}"/>
          </ac:spMkLst>
        </pc:spChg>
        <pc:extLst>
          <p:ext xmlns:p="http://schemas.openxmlformats.org/presentationml/2006/main" uri="{D6D511B9-2390-475A-947B-AFAB55BFBCF1}">
            <pc226:cmChg xmlns:pc226="http://schemas.microsoft.com/office/powerpoint/2022/06/main/command" chg="add">
              <pc226:chgData name="Theo Moers" userId="93c42d6e-9ee6-4a15-ac8b-0480636beb6e" providerId="ADAL" clId="{9618436E-C307-B840-9A97-9B3E4B9C1692}" dt="2023-09-12T18:39:54.457" v="1948"/>
              <pc2:cmMkLst xmlns:pc2="http://schemas.microsoft.com/office/powerpoint/2019/9/main/command">
                <pc:docMk/>
                <pc:sldMk cId="3260858734" sldId="286"/>
                <pc2:cmMk id="{B90DB79B-C1D7-6E4A-A663-91FBBF517FB1}"/>
              </pc2:cmMkLst>
            </pc226:cmChg>
            <pc226:cmChg xmlns:pc226="http://schemas.microsoft.com/office/powerpoint/2022/06/main/command" chg="add del">
              <pc226:chgData name="Theo Moers" userId="93c42d6e-9ee6-4a15-ac8b-0480636beb6e" providerId="ADAL" clId="{9618436E-C307-B840-9A97-9B3E4B9C1692}" dt="2023-09-12T16:22:06.989" v="1197"/>
              <pc2:cmMkLst xmlns:pc2="http://schemas.microsoft.com/office/powerpoint/2019/9/main/command">
                <pc:docMk/>
                <pc:sldMk cId="3260858734" sldId="286"/>
                <pc2:cmMk id="{2E3691F5-1075-B44F-BEF5-A36084952E3B}"/>
              </pc2:cmMkLst>
            </pc226:cmChg>
          </p:ext>
        </pc:extLst>
      </pc:sldChg>
      <pc:sldChg chg="modSp mod addCm modCm">
        <pc:chgData name="Theo Moers" userId="93c42d6e-9ee6-4a15-ac8b-0480636beb6e" providerId="ADAL" clId="{9618436E-C307-B840-9A97-9B3E4B9C1692}" dt="2023-09-12T16:33:16.695" v="1324"/>
        <pc:sldMkLst>
          <pc:docMk/>
          <pc:sldMk cId="1365434196" sldId="287"/>
        </pc:sldMkLst>
        <pc:spChg chg="mod">
          <ac:chgData name="Theo Moers" userId="93c42d6e-9ee6-4a15-ac8b-0480636beb6e" providerId="ADAL" clId="{9618436E-C307-B840-9A97-9B3E4B9C1692}" dt="2023-09-12T16:23:17.271" v="1220" actId="12"/>
          <ac:spMkLst>
            <pc:docMk/>
            <pc:sldMk cId="1365434196" sldId="287"/>
            <ac:spMk id="18" creationId="{BCC7EBB6-A286-BE2C-772C-D3A9CEF87B37}"/>
          </ac:spMkLst>
        </pc:spChg>
        <pc:extLst>
          <p:ext xmlns:p="http://schemas.openxmlformats.org/presentationml/2006/main" uri="{D6D511B9-2390-475A-947B-AFAB55BFBCF1}">
            <pc226:cmChg xmlns:pc226="http://schemas.microsoft.com/office/powerpoint/2022/06/main/command" chg="add mod">
              <pc226:chgData name="Theo Moers" userId="93c42d6e-9ee6-4a15-ac8b-0480636beb6e" providerId="ADAL" clId="{9618436E-C307-B840-9A97-9B3E4B9C1692}" dt="2023-09-12T16:33:16.695" v="1324"/>
              <pc2:cmMkLst xmlns:pc2="http://schemas.microsoft.com/office/powerpoint/2019/9/main/command">
                <pc:docMk/>
                <pc:sldMk cId="1365434196" sldId="287"/>
                <pc2:cmMk id="{2AB3F48B-E2BB-704F-81A3-C3E30930D947}"/>
              </pc2:cmMkLst>
            </pc226:cmChg>
          </p:ext>
        </pc:extLst>
      </pc:sldChg>
      <pc:sldChg chg="modSp mod addCm">
        <pc:chgData name="Theo Moers" userId="93c42d6e-9ee6-4a15-ac8b-0480636beb6e" providerId="ADAL" clId="{9618436E-C307-B840-9A97-9B3E4B9C1692}" dt="2023-09-12T16:31:11.085" v="1314"/>
        <pc:sldMkLst>
          <pc:docMk/>
          <pc:sldMk cId="1868644854" sldId="288"/>
        </pc:sldMkLst>
        <pc:spChg chg="mod">
          <ac:chgData name="Theo Moers" userId="93c42d6e-9ee6-4a15-ac8b-0480636beb6e" providerId="ADAL" clId="{9618436E-C307-B840-9A97-9B3E4B9C1692}" dt="2023-09-12T16:23:34.052" v="1222" actId="12"/>
          <ac:spMkLst>
            <pc:docMk/>
            <pc:sldMk cId="1868644854" sldId="288"/>
            <ac:spMk id="18" creationId="{BCC7EBB6-A286-BE2C-772C-D3A9CEF87B37}"/>
          </ac:spMkLst>
        </pc:spChg>
        <pc:extLst>
          <p:ext xmlns:p="http://schemas.openxmlformats.org/presentationml/2006/main" uri="{D6D511B9-2390-475A-947B-AFAB55BFBCF1}">
            <pc226:cmChg xmlns:pc226="http://schemas.microsoft.com/office/powerpoint/2022/06/main/command" chg="add">
              <pc226:chgData name="Theo Moers" userId="93c42d6e-9ee6-4a15-ac8b-0480636beb6e" providerId="ADAL" clId="{9618436E-C307-B840-9A97-9B3E4B9C1692}" dt="2023-09-12T16:31:11.085" v="1314"/>
              <pc2:cmMkLst xmlns:pc2="http://schemas.microsoft.com/office/powerpoint/2019/9/main/command">
                <pc:docMk/>
                <pc:sldMk cId="1868644854" sldId="288"/>
                <pc2:cmMk id="{ED6B64AF-E61C-1448-B86D-BF74AC5B7DEB}"/>
              </pc2:cmMkLst>
            </pc226:cmChg>
          </p:ext>
        </pc:extLst>
      </pc:sldChg>
      <pc:sldChg chg="modSp mod">
        <pc:chgData name="Theo Moers" userId="93c42d6e-9ee6-4a15-ac8b-0480636beb6e" providerId="ADAL" clId="{9618436E-C307-B840-9A97-9B3E4B9C1692}" dt="2023-09-12T16:32:45.218" v="1323" actId="14100"/>
        <pc:sldMkLst>
          <pc:docMk/>
          <pc:sldMk cId="3957662848" sldId="289"/>
        </pc:sldMkLst>
        <pc:spChg chg="mod">
          <ac:chgData name="Theo Moers" userId="93c42d6e-9ee6-4a15-ac8b-0480636beb6e" providerId="ADAL" clId="{9618436E-C307-B840-9A97-9B3E4B9C1692}" dt="2023-09-12T16:32:36.614" v="1321" actId="14100"/>
          <ac:spMkLst>
            <pc:docMk/>
            <pc:sldMk cId="3957662848" sldId="289"/>
            <ac:spMk id="8" creationId="{B9B225E8-70BF-7F9E-DCEF-603428BE7D5A}"/>
          </ac:spMkLst>
        </pc:spChg>
        <pc:spChg chg="mod">
          <ac:chgData name="Theo Moers" userId="93c42d6e-9ee6-4a15-ac8b-0480636beb6e" providerId="ADAL" clId="{9618436E-C307-B840-9A97-9B3E4B9C1692}" dt="2023-09-12T16:32:45.218" v="1323" actId="14100"/>
          <ac:spMkLst>
            <pc:docMk/>
            <pc:sldMk cId="3957662848" sldId="289"/>
            <ac:spMk id="9" creationId="{AF51430A-C7C3-2D20-2B0D-6C1C92D76359}"/>
          </ac:spMkLst>
        </pc:spChg>
      </pc:sldChg>
      <pc:sldChg chg="modSp mod">
        <pc:chgData name="Theo Moers" userId="93c42d6e-9ee6-4a15-ac8b-0480636beb6e" providerId="ADAL" clId="{9618436E-C307-B840-9A97-9B3E4B9C1692}" dt="2023-09-12T16:24:11.830" v="1225" actId="12"/>
        <pc:sldMkLst>
          <pc:docMk/>
          <pc:sldMk cId="579808260" sldId="290"/>
        </pc:sldMkLst>
        <pc:spChg chg="mod">
          <ac:chgData name="Theo Moers" userId="93c42d6e-9ee6-4a15-ac8b-0480636beb6e" providerId="ADAL" clId="{9618436E-C307-B840-9A97-9B3E4B9C1692}" dt="2023-09-12T16:24:11.830" v="1225" actId="12"/>
          <ac:spMkLst>
            <pc:docMk/>
            <pc:sldMk cId="579808260" sldId="290"/>
            <ac:spMk id="9" creationId="{AF51430A-C7C3-2D20-2B0D-6C1C92D76359}"/>
          </ac:spMkLst>
        </pc:spChg>
      </pc:sldChg>
      <pc:sldChg chg="addSp modSp mod">
        <pc:chgData name="Theo Moers" userId="93c42d6e-9ee6-4a15-ac8b-0480636beb6e" providerId="ADAL" clId="{9618436E-C307-B840-9A97-9B3E4B9C1692}" dt="2023-09-12T18:41:07.955" v="1951" actId="207"/>
        <pc:sldMkLst>
          <pc:docMk/>
          <pc:sldMk cId="3724659990" sldId="291"/>
        </pc:sldMkLst>
        <pc:graphicFrameChg chg="mod modGraphic">
          <ac:chgData name="Theo Moers" userId="93c42d6e-9ee6-4a15-ac8b-0480636beb6e" providerId="ADAL" clId="{9618436E-C307-B840-9A97-9B3E4B9C1692}" dt="2023-09-12T18:41:07.955" v="1951" actId="207"/>
          <ac:graphicFrameMkLst>
            <pc:docMk/>
            <pc:sldMk cId="3724659990" sldId="291"/>
            <ac:graphicFrameMk id="33" creationId="{FD6511E1-AA8B-5182-ED06-578B4BDBF49F}"/>
          </ac:graphicFrameMkLst>
        </pc:graphicFrameChg>
        <pc:picChg chg="add mod">
          <ac:chgData name="Theo Moers" userId="93c42d6e-9ee6-4a15-ac8b-0480636beb6e" providerId="ADAL" clId="{9618436E-C307-B840-9A97-9B3E4B9C1692}" dt="2023-09-12T15:49:27.505" v="340" actId="1076"/>
          <ac:picMkLst>
            <pc:docMk/>
            <pc:sldMk cId="3724659990" sldId="291"/>
            <ac:picMk id="14" creationId="{18039D9E-4341-BD90-0907-2E7ED4C7BD2D}"/>
          </ac:picMkLst>
        </pc:picChg>
        <pc:picChg chg="add mod">
          <ac:chgData name="Theo Moers" userId="93c42d6e-9ee6-4a15-ac8b-0480636beb6e" providerId="ADAL" clId="{9618436E-C307-B840-9A97-9B3E4B9C1692}" dt="2023-09-12T15:51:13.823" v="349" actId="207"/>
          <ac:picMkLst>
            <pc:docMk/>
            <pc:sldMk cId="3724659990" sldId="291"/>
            <ac:picMk id="16" creationId="{102BF9C0-758F-29E8-24DC-EF52B90395B8}"/>
          </ac:picMkLst>
        </pc:picChg>
        <pc:picChg chg="add mod">
          <ac:chgData name="Theo Moers" userId="93c42d6e-9ee6-4a15-ac8b-0480636beb6e" providerId="ADAL" clId="{9618436E-C307-B840-9A97-9B3E4B9C1692}" dt="2023-09-12T15:51:13.823" v="349" actId="207"/>
          <ac:picMkLst>
            <pc:docMk/>
            <pc:sldMk cId="3724659990" sldId="291"/>
            <ac:picMk id="18" creationId="{BD9D7205-3B44-08CA-22B4-E2C0B581F7E6}"/>
          </ac:picMkLst>
        </pc:picChg>
      </pc:sldChg>
      <pc:sldChg chg="addSp delSp modSp mod modTransition">
        <pc:chgData name="Theo Moers" userId="93c42d6e-9ee6-4a15-ac8b-0480636beb6e" providerId="ADAL" clId="{9618436E-C307-B840-9A97-9B3E4B9C1692}" dt="2023-09-12T16:39:40.378" v="1427"/>
        <pc:sldMkLst>
          <pc:docMk/>
          <pc:sldMk cId="3864929588" sldId="292"/>
        </pc:sldMkLst>
        <pc:spChg chg="del">
          <ac:chgData name="Theo Moers" userId="93c42d6e-9ee6-4a15-ac8b-0480636beb6e" providerId="ADAL" clId="{9618436E-C307-B840-9A97-9B3E4B9C1692}" dt="2023-09-12T15:37:22.568" v="211" actId="478"/>
          <ac:spMkLst>
            <pc:docMk/>
            <pc:sldMk cId="3864929588" sldId="292"/>
            <ac:spMk id="2" creationId="{3C3D9F06-9E68-4223-B766-1669CC453D11}"/>
          </ac:spMkLst>
        </pc:spChg>
        <pc:spChg chg="mod">
          <ac:chgData name="Theo Moers" userId="93c42d6e-9ee6-4a15-ac8b-0480636beb6e" providerId="ADAL" clId="{9618436E-C307-B840-9A97-9B3E4B9C1692}" dt="2023-09-12T15:37:30.508" v="215"/>
          <ac:spMkLst>
            <pc:docMk/>
            <pc:sldMk cId="3864929588" sldId="292"/>
            <ac:spMk id="8" creationId="{64FA9D37-9FC0-439A-9F9D-3EDA4368ECC3}"/>
          </ac:spMkLst>
        </pc:spChg>
        <pc:spChg chg="mod">
          <ac:chgData name="Theo Moers" userId="93c42d6e-9ee6-4a15-ac8b-0480636beb6e" providerId="ADAL" clId="{9618436E-C307-B840-9A97-9B3E4B9C1692}" dt="2023-09-12T16:16:38.954" v="1139" actId="20577"/>
          <ac:spMkLst>
            <pc:docMk/>
            <pc:sldMk cId="3864929588" sldId="292"/>
            <ac:spMk id="10" creationId="{E9B8FE5A-AE54-4675-969E-BF622F732C1E}"/>
          </ac:spMkLst>
        </pc:spChg>
        <pc:spChg chg="mod">
          <ac:chgData name="Theo Moers" userId="93c42d6e-9ee6-4a15-ac8b-0480636beb6e" providerId="ADAL" clId="{9618436E-C307-B840-9A97-9B3E4B9C1692}" dt="2023-09-12T15:37:30.509" v="217"/>
          <ac:spMkLst>
            <pc:docMk/>
            <pc:sldMk cId="3864929588" sldId="292"/>
            <ac:spMk id="13" creationId="{2E1016D1-8798-0B34-9EB4-1F66E4C89972}"/>
          </ac:spMkLst>
        </pc:spChg>
        <pc:spChg chg="mod">
          <ac:chgData name="Theo Moers" userId="93c42d6e-9ee6-4a15-ac8b-0480636beb6e" providerId="ADAL" clId="{9618436E-C307-B840-9A97-9B3E4B9C1692}" dt="2023-09-12T15:37:24.987" v="213"/>
          <ac:spMkLst>
            <pc:docMk/>
            <pc:sldMk cId="3864929588" sldId="292"/>
            <ac:spMk id="14" creationId="{2F452BFE-E4FE-7E00-FB12-B067450583B9}"/>
          </ac:spMkLst>
        </pc:spChg>
        <pc:spChg chg="mod">
          <ac:chgData name="Theo Moers" userId="93c42d6e-9ee6-4a15-ac8b-0480636beb6e" providerId="ADAL" clId="{9618436E-C307-B840-9A97-9B3E4B9C1692}" dt="2023-09-12T16:17:10.899" v="1166" actId="1038"/>
          <ac:spMkLst>
            <pc:docMk/>
            <pc:sldMk cId="3864929588" sldId="292"/>
            <ac:spMk id="18" creationId="{BCC7EBB6-A286-BE2C-772C-D3A9CEF87B37}"/>
          </ac:spMkLst>
        </pc:spChg>
        <pc:spChg chg="mod">
          <ac:chgData name="Theo Moers" userId="93c42d6e-9ee6-4a15-ac8b-0480636beb6e" providerId="ADAL" clId="{9618436E-C307-B840-9A97-9B3E4B9C1692}" dt="2023-09-12T16:17:02.717" v="1153" actId="1038"/>
          <ac:spMkLst>
            <pc:docMk/>
            <pc:sldMk cId="3864929588" sldId="292"/>
            <ac:spMk id="34" creationId="{EC40CF95-88CA-1988-046C-705FFF95D33E}"/>
          </ac:spMkLst>
        </pc:spChg>
        <pc:grpChg chg="add mod">
          <ac:chgData name="Theo Moers" userId="93c42d6e-9ee6-4a15-ac8b-0480636beb6e" providerId="ADAL" clId="{9618436E-C307-B840-9A97-9B3E4B9C1692}" dt="2023-09-12T16:16:06.208" v="1107" actId="1076"/>
          <ac:grpSpMkLst>
            <pc:docMk/>
            <pc:sldMk cId="3864929588" sldId="292"/>
            <ac:grpSpMk id="3" creationId="{B296600A-7078-1881-ACB0-109CD108FD70}"/>
          </ac:grpSpMkLst>
        </pc:grpChg>
        <pc:graphicFrameChg chg="add mod modVis replST">
          <ac:chgData name="Theo Moers" userId="93c42d6e-9ee6-4a15-ac8b-0480636beb6e" providerId="ADAL" clId="{9618436E-C307-B840-9A97-9B3E4B9C1692}" dt="2023-09-12T15:37:30.541" v="244"/>
          <ac:graphicFrameMkLst>
            <pc:docMk/>
            <pc:sldMk cId="3864929588" sldId="292"/>
            <ac:graphicFrameMk id="17" creationId="{762A3DD6-E0C0-2C7E-04C8-B644DA400DA1}"/>
          </ac:graphicFrameMkLst>
        </pc:graphicFrameChg>
        <pc:picChg chg="del">
          <ac:chgData name="Theo Moers" userId="93c42d6e-9ee6-4a15-ac8b-0480636beb6e" providerId="ADAL" clId="{9618436E-C307-B840-9A97-9B3E4B9C1692}" dt="2023-09-12T15:37:24.386" v="212" actId="478"/>
          <ac:picMkLst>
            <pc:docMk/>
            <pc:sldMk cId="3864929588" sldId="292"/>
            <ac:picMk id="4" creationId="{F3080E6E-0F12-DAC1-0D4C-11FC385FAC67}"/>
          </ac:picMkLst>
        </pc:picChg>
        <pc:picChg chg="add del">
          <ac:chgData name="Theo Moers" userId="93c42d6e-9ee6-4a15-ac8b-0480636beb6e" providerId="ADAL" clId="{9618436E-C307-B840-9A97-9B3E4B9C1692}" dt="2023-09-12T15:37:21.250" v="210" actId="478"/>
          <ac:picMkLst>
            <pc:docMk/>
            <pc:sldMk cId="3864929588" sldId="292"/>
            <ac:picMk id="5" creationId="{75C68A9B-AD4F-92BF-C5F9-6A9A9721BBDD}"/>
          </ac:picMkLst>
        </pc:picChg>
        <pc:picChg chg="mod">
          <ac:chgData name="Theo Moers" userId="93c42d6e-9ee6-4a15-ac8b-0480636beb6e" providerId="ADAL" clId="{9618436E-C307-B840-9A97-9B3E4B9C1692}" dt="2023-09-12T16:17:10.899" v="1166" actId="1038"/>
          <ac:picMkLst>
            <pc:docMk/>
            <pc:sldMk cId="3864929588" sldId="292"/>
            <ac:picMk id="6" creationId="{70C4E523-473B-70F8-FB18-0C6D5CC0B746}"/>
          </ac:picMkLst>
        </pc:picChg>
        <pc:picChg chg="mod">
          <ac:chgData name="Theo Moers" userId="93c42d6e-9ee6-4a15-ac8b-0480636beb6e" providerId="ADAL" clId="{9618436E-C307-B840-9A97-9B3E4B9C1692}" dt="2023-09-12T15:37:24.987" v="213"/>
          <ac:picMkLst>
            <pc:docMk/>
            <pc:sldMk cId="3864929588" sldId="292"/>
            <ac:picMk id="7" creationId="{490076FF-6D57-02CE-7416-77B3CA3D6AD2}"/>
          </ac:picMkLst>
        </pc:picChg>
        <pc:picChg chg="mod">
          <ac:chgData name="Theo Moers" userId="93c42d6e-9ee6-4a15-ac8b-0480636beb6e" providerId="ADAL" clId="{9618436E-C307-B840-9A97-9B3E4B9C1692}" dt="2023-09-12T16:17:10.899" v="1166" actId="1038"/>
          <ac:picMkLst>
            <pc:docMk/>
            <pc:sldMk cId="3864929588" sldId="292"/>
            <ac:picMk id="9" creationId="{A0C9D194-9314-BE76-C7DA-B3ECF7C8E3E2}"/>
          </ac:picMkLst>
        </pc:picChg>
        <pc:picChg chg="mod">
          <ac:chgData name="Theo Moers" userId="93c42d6e-9ee6-4a15-ac8b-0480636beb6e" providerId="ADAL" clId="{9618436E-C307-B840-9A97-9B3E4B9C1692}" dt="2023-09-12T16:17:02.717" v="1153" actId="1038"/>
          <ac:picMkLst>
            <pc:docMk/>
            <pc:sldMk cId="3864929588" sldId="292"/>
            <ac:picMk id="11" creationId="{823B3B2B-B26D-9C7C-637A-20D39DDBFF0D}"/>
          </ac:picMkLst>
        </pc:picChg>
        <pc:picChg chg="mod">
          <ac:chgData name="Theo Moers" userId="93c42d6e-9ee6-4a15-ac8b-0480636beb6e" providerId="ADAL" clId="{9618436E-C307-B840-9A97-9B3E4B9C1692}" dt="2023-09-12T16:17:10.899" v="1166" actId="1038"/>
          <ac:picMkLst>
            <pc:docMk/>
            <pc:sldMk cId="3864929588" sldId="292"/>
            <ac:picMk id="12" creationId="{8C51FD3C-2F3E-5429-2B25-62E5F5437896}"/>
          </ac:picMkLst>
        </pc:picChg>
        <pc:picChg chg="mod">
          <ac:chgData name="Theo Moers" userId="93c42d6e-9ee6-4a15-ac8b-0480636beb6e" providerId="ADAL" clId="{9618436E-C307-B840-9A97-9B3E4B9C1692}" dt="2023-09-12T16:17:02.717" v="1153" actId="1038"/>
          <ac:picMkLst>
            <pc:docMk/>
            <pc:sldMk cId="3864929588" sldId="292"/>
            <ac:picMk id="15" creationId="{69721327-46DE-ED84-810A-BF2D6039E331}"/>
          </ac:picMkLst>
        </pc:picChg>
        <pc:picChg chg="mod">
          <ac:chgData name="Theo Moers" userId="93c42d6e-9ee6-4a15-ac8b-0480636beb6e" providerId="ADAL" clId="{9618436E-C307-B840-9A97-9B3E4B9C1692}" dt="2023-09-12T16:17:10.899" v="1166" actId="1038"/>
          <ac:picMkLst>
            <pc:docMk/>
            <pc:sldMk cId="3864929588" sldId="292"/>
            <ac:picMk id="16" creationId="{4ED303D4-A686-75AD-C828-BE18ADA85E68}"/>
          </ac:picMkLst>
        </pc:picChg>
        <pc:picChg chg="mod">
          <ac:chgData name="Theo Moers" userId="93c42d6e-9ee6-4a15-ac8b-0480636beb6e" providerId="ADAL" clId="{9618436E-C307-B840-9A97-9B3E4B9C1692}" dt="2023-09-12T16:17:02.717" v="1153" actId="1038"/>
          <ac:picMkLst>
            <pc:docMk/>
            <pc:sldMk cId="3864929588" sldId="292"/>
            <ac:picMk id="19" creationId="{63862C57-EDFC-DC2E-ACA7-ACCDA1CA21D4}"/>
          </ac:picMkLst>
        </pc:picChg>
        <pc:picChg chg="add mod">
          <ac:chgData name="Theo Moers" userId="93c42d6e-9ee6-4a15-ac8b-0480636beb6e" providerId="ADAL" clId="{9618436E-C307-B840-9A97-9B3E4B9C1692}" dt="2023-09-12T15:38:03.341" v="267"/>
          <ac:picMkLst>
            <pc:docMk/>
            <pc:sldMk cId="3864929588" sldId="292"/>
            <ac:picMk id="20" creationId="{407B7D2A-A85A-E0C4-5258-779B155BA6A8}"/>
          </ac:picMkLst>
        </pc:picChg>
        <pc:picChg chg="mod">
          <ac:chgData name="Theo Moers" userId="93c42d6e-9ee6-4a15-ac8b-0480636beb6e" providerId="ADAL" clId="{9618436E-C307-B840-9A97-9B3E4B9C1692}" dt="2023-09-12T16:17:02.717" v="1153" actId="1038"/>
          <ac:picMkLst>
            <pc:docMk/>
            <pc:sldMk cId="3864929588" sldId="292"/>
            <ac:picMk id="21" creationId="{5C2D5BF5-74B1-D3A3-8A2F-589F5A24B896}"/>
          </ac:picMkLst>
        </pc:picChg>
      </pc:sldChg>
      <pc:sldChg chg="addSp modSp mod addCm delCm">
        <pc:chgData name="Theo Moers" userId="93c42d6e-9ee6-4a15-ac8b-0480636beb6e" providerId="ADAL" clId="{9618436E-C307-B840-9A97-9B3E4B9C1692}" dt="2023-09-12T16:38:39.433" v="1420" actId="1076"/>
        <pc:sldMkLst>
          <pc:docMk/>
          <pc:sldMk cId="2259650141" sldId="293"/>
        </pc:sldMkLst>
        <pc:spChg chg="add mod">
          <ac:chgData name="Theo Moers" userId="93c42d6e-9ee6-4a15-ac8b-0480636beb6e" providerId="ADAL" clId="{9618436E-C307-B840-9A97-9B3E4B9C1692}" dt="2023-09-12T16:38:19.997" v="1418" actId="207"/>
          <ac:spMkLst>
            <pc:docMk/>
            <pc:sldMk cId="2259650141" sldId="293"/>
            <ac:spMk id="2" creationId="{036718AF-A178-B3B3-6EC2-54C59BC13548}"/>
          </ac:spMkLst>
        </pc:spChg>
        <pc:spChg chg="mod">
          <ac:chgData name="Theo Moers" userId="93c42d6e-9ee6-4a15-ac8b-0480636beb6e" providerId="ADAL" clId="{9618436E-C307-B840-9A97-9B3E4B9C1692}" dt="2023-09-12T16:37:12.709" v="1396"/>
          <ac:spMkLst>
            <pc:docMk/>
            <pc:sldMk cId="2259650141" sldId="293"/>
            <ac:spMk id="5" creationId="{CF59E175-F11B-C1AA-65D0-62C1C86E531D}"/>
          </ac:spMkLst>
        </pc:spChg>
        <pc:spChg chg="mod">
          <ac:chgData name="Theo Moers" userId="93c42d6e-9ee6-4a15-ac8b-0480636beb6e" providerId="ADAL" clId="{9618436E-C307-B840-9A97-9B3E4B9C1692}" dt="2023-09-12T16:37:12.709" v="1394"/>
          <ac:spMkLst>
            <pc:docMk/>
            <pc:sldMk cId="2259650141" sldId="293"/>
            <ac:spMk id="10" creationId="{E9B8FE5A-AE54-4675-969E-BF622F732C1E}"/>
          </ac:spMkLst>
        </pc:spChg>
        <pc:spChg chg="mod">
          <ac:chgData name="Theo Moers" userId="93c42d6e-9ee6-4a15-ac8b-0480636beb6e" providerId="ADAL" clId="{9618436E-C307-B840-9A97-9B3E4B9C1692}" dt="2023-09-12T16:37:12.709" v="1395"/>
          <ac:spMkLst>
            <pc:docMk/>
            <pc:sldMk cId="2259650141" sldId="293"/>
            <ac:spMk id="13" creationId="{2E1016D1-8798-0B34-9EB4-1F66E4C89972}"/>
          </ac:spMkLst>
        </pc:spChg>
        <pc:spChg chg="mod">
          <ac:chgData name="Theo Moers" userId="93c42d6e-9ee6-4a15-ac8b-0480636beb6e" providerId="ADAL" clId="{9618436E-C307-B840-9A97-9B3E4B9C1692}" dt="2023-09-12T16:37:12.712" v="1405"/>
          <ac:spMkLst>
            <pc:docMk/>
            <pc:sldMk cId="2259650141" sldId="293"/>
            <ac:spMk id="22" creationId="{EB3B2CD0-410B-5871-132E-FEF5644AA8AB}"/>
          </ac:spMkLst>
        </pc:spChg>
        <pc:spChg chg="mod">
          <ac:chgData name="Theo Moers" userId="93c42d6e-9ee6-4a15-ac8b-0480636beb6e" providerId="ADAL" clId="{9618436E-C307-B840-9A97-9B3E4B9C1692}" dt="2023-09-12T16:38:39.433" v="1420" actId="1076"/>
          <ac:spMkLst>
            <pc:docMk/>
            <pc:sldMk cId="2259650141" sldId="293"/>
            <ac:spMk id="23" creationId="{0A4E0E06-0DAD-610B-B90D-EC3E0A6FD060}"/>
          </ac:spMkLst>
        </pc:spChg>
        <pc:spChg chg="mod">
          <ac:chgData name="Theo Moers" userId="93c42d6e-9ee6-4a15-ac8b-0480636beb6e" providerId="ADAL" clId="{9618436E-C307-B840-9A97-9B3E4B9C1692}" dt="2023-09-12T16:37:12.707" v="1392"/>
          <ac:spMkLst>
            <pc:docMk/>
            <pc:sldMk cId="2259650141" sldId="293"/>
            <ac:spMk id="31" creationId="{7FD78918-2FD0-164E-8E2B-A235A4CFF466}"/>
          </ac:spMkLst>
        </pc:spChg>
        <pc:graphicFrameChg chg="add mod modVis replST">
          <ac:chgData name="Theo Moers" userId="93c42d6e-9ee6-4a15-ac8b-0480636beb6e" providerId="ADAL" clId="{9618436E-C307-B840-9A97-9B3E4B9C1692}" dt="2023-09-12T16:37:12.715" v="1411"/>
          <ac:graphicFrameMkLst>
            <pc:docMk/>
            <pc:sldMk cId="2259650141" sldId="293"/>
            <ac:graphicFrameMk id="3" creationId="{97EC4C4B-38E2-7090-E2ED-22FF4CA0ACE4}"/>
          </ac:graphicFrameMkLst>
        </pc:graphicFrameChg>
        <pc:picChg chg="mod">
          <ac:chgData name="Theo Moers" userId="93c42d6e-9ee6-4a15-ac8b-0480636beb6e" providerId="ADAL" clId="{9618436E-C307-B840-9A97-9B3E4B9C1692}" dt="2023-09-12T16:37:12.708" v="1393"/>
          <ac:picMkLst>
            <pc:docMk/>
            <pc:sldMk cId="2259650141" sldId="293"/>
            <ac:picMk id="4" creationId="{F3080E6E-0F12-DAC1-0D4C-11FC385FAC67}"/>
          </ac:picMkLst>
        </pc:picChg>
        <pc:picChg chg="mod">
          <ac:chgData name="Theo Moers" userId="93c42d6e-9ee6-4a15-ac8b-0480636beb6e" providerId="ADAL" clId="{9618436E-C307-B840-9A97-9B3E4B9C1692}" dt="2023-09-12T16:37:12.710" v="1397"/>
          <ac:picMkLst>
            <pc:docMk/>
            <pc:sldMk cId="2259650141" sldId="293"/>
            <ac:picMk id="9" creationId="{1C2F7093-9340-CB1C-D826-A73140272A4C}"/>
          </ac:picMkLst>
        </pc:picChg>
        <pc:picChg chg="mod">
          <ac:chgData name="Theo Moers" userId="93c42d6e-9ee6-4a15-ac8b-0480636beb6e" providerId="ADAL" clId="{9618436E-C307-B840-9A97-9B3E4B9C1692}" dt="2023-09-12T16:37:12.710" v="1398"/>
          <ac:picMkLst>
            <pc:docMk/>
            <pc:sldMk cId="2259650141" sldId="293"/>
            <ac:picMk id="14" creationId="{0234DFED-8941-888E-EA30-D45C0F15B503}"/>
          </ac:picMkLst>
        </pc:picChg>
        <pc:picChg chg="mod">
          <ac:chgData name="Theo Moers" userId="93c42d6e-9ee6-4a15-ac8b-0480636beb6e" providerId="ADAL" clId="{9618436E-C307-B840-9A97-9B3E4B9C1692}" dt="2023-09-12T16:37:12.710" v="1399"/>
          <ac:picMkLst>
            <pc:docMk/>
            <pc:sldMk cId="2259650141" sldId="293"/>
            <ac:picMk id="15" creationId="{84F33C59-6263-A95B-0774-7A5FF0A22799}"/>
          </ac:picMkLst>
        </pc:picChg>
        <pc:picChg chg="mod">
          <ac:chgData name="Theo Moers" userId="93c42d6e-9ee6-4a15-ac8b-0480636beb6e" providerId="ADAL" clId="{9618436E-C307-B840-9A97-9B3E4B9C1692}" dt="2023-09-12T16:37:12.711" v="1400"/>
          <ac:picMkLst>
            <pc:docMk/>
            <pc:sldMk cId="2259650141" sldId="293"/>
            <ac:picMk id="16" creationId="{BAED255D-2965-1B93-A3A2-5DFFD003BC39}"/>
          </ac:picMkLst>
        </pc:picChg>
        <pc:picChg chg="mod">
          <ac:chgData name="Theo Moers" userId="93c42d6e-9ee6-4a15-ac8b-0480636beb6e" providerId="ADAL" clId="{9618436E-C307-B840-9A97-9B3E4B9C1692}" dt="2023-09-12T16:37:12.711" v="1401"/>
          <ac:picMkLst>
            <pc:docMk/>
            <pc:sldMk cId="2259650141" sldId="293"/>
            <ac:picMk id="17" creationId="{64551933-E210-14DC-1E46-E284ECFB87D0}"/>
          </ac:picMkLst>
        </pc:picChg>
        <pc:picChg chg="mod">
          <ac:chgData name="Theo Moers" userId="93c42d6e-9ee6-4a15-ac8b-0480636beb6e" providerId="ADAL" clId="{9618436E-C307-B840-9A97-9B3E4B9C1692}" dt="2023-09-12T16:37:12.711" v="1402"/>
          <ac:picMkLst>
            <pc:docMk/>
            <pc:sldMk cId="2259650141" sldId="293"/>
            <ac:picMk id="18" creationId="{EDEEB769-23E6-0AA4-85C0-F5E554FC664E}"/>
          </ac:picMkLst>
        </pc:picChg>
        <pc:picChg chg="mod">
          <ac:chgData name="Theo Moers" userId="93c42d6e-9ee6-4a15-ac8b-0480636beb6e" providerId="ADAL" clId="{9618436E-C307-B840-9A97-9B3E4B9C1692}" dt="2023-09-12T16:37:12.712" v="1403"/>
          <ac:picMkLst>
            <pc:docMk/>
            <pc:sldMk cId="2259650141" sldId="293"/>
            <ac:picMk id="19" creationId="{6C53887F-38EB-3386-E4C3-4BB79410BC79}"/>
          </ac:picMkLst>
        </pc:picChg>
        <pc:picChg chg="mod">
          <ac:chgData name="Theo Moers" userId="93c42d6e-9ee6-4a15-ac8b-0480636beb6e" providerId="ADAL" clId="{9618436E-C307-B840-9A97-9B3E4B9C1692}" dt="2023-09-12T16:37:12.712" v="1404"/>
          <ac:picMkLst>
            <pc:docMk/>
            <pc:sldMk cId="2259650141" sldId="293"/>
            <ac:picMk id="20" creationId="{3689EDE9-0E94-8209-64A6-4DF7D10F8F76}"/>
          </ac:picMkLst>
        </pc:picChg>
        <pc:extLst>
          <p:ext xmlns:p="http://schemas.openxmlformats.org/presentationml/2006/main" uri="{D6D511B9-2390-475A-947B-AFAB55BFBCF1}">
            <pc226:cmChg xmlns:pc226="http://schemas.microsoft.com/office/powerpoint/2022/06/main/command" chg="add del">
              <pc226:chgData name="Theo Moers" userId="93c42d6e-9ee6-4a15-ac8b-0480636beb6e" providerId="ADAL" clId="{9618436E-C307-B840-9A97-9B3E4B9C1692}" dt="2023-09-12T16:33:57.864" v="1325"/>
              <pc2:cmMkLst xmlns:pc2="http://schemas.microsoft.com/office/powerpoint/2019/9/main/command">
                <pc:docMk/>
                <pc:sldMk cId="2259650141" sldId="293"/>
                <pc2:cmMk id="{41D7120B-E6D1-AB46-93E9-58DE5BCCC389}"/>
              </pc2:cmMkLst>
            </pc226:cmChg>
          </p:ext>
        </pc:extLst>
      </pc:sldChg>
      <pc:sldMasterChg chg="addSp delSp modSp mod">
        <pc:chgData name="Theo Moers" userId="93c42d6e-9ee6-4a15-ac8b-0480636beb6e" providerId="ADAL" clId="{9618436E-C307-B840-9A97-9B3E4B9C1692}" dt="2023-09-12T15:37:13.963" v="207"/>
        <pc:sldMasterMkLst>
          <pc:docMk/>
          <pc:sldMasterMk cId="1655035539" sldId="2147483648"/>
        </pc:sldMasterMkLst>
        <pc:spChg chg="mod">
          <ac:chgData name="Theo Moers" userId="93c42d6e-9ee6-4a15-ac8b-0480636beb6e" providerId="ADAL" clId="{9618436E-C307-B840-9A97-9B3E4B9C1692}" dt="2023-09-12T15:37:13.779" v="96" actId="948"/>
          <ac:spMkLst>
            <pc:docMk/>
            <pc:sldMasterMk cId="1655035539" sldId="2147483648"/>
            <ac:spMk id="2" creationId="{386E8647-56AD-4330-B207-47213A50360A}"/>
          </ac:spMkLst>
        </pc:spChg>
        <pc:spChg chg="add del mod modVis">
          <ac:chgData name="Theo Moers" userId="93c42d6e-9ee6-4a15-ac8b-0480636beb6e" providerId="ADAL" clId="{9618436E-C307-B840-9A97-9B3E4B9C1692}" dt="2023-09-12T15:37:13.943" v="192"/>
          <ac:spMkLst>
            <pc:docMk/>
            <pc:sldMasterMk cId="1655035539" sldId="2147483648"/>
            <ac:spMk id="7" creationId="{3F895F48-7443-2319-CDB2-B0DE452AEF8D}"/>
          </ac:spMkLst>
        </pc:spChg>
        <pc:graphicFrameChg chg="add mod modVis replST">
          <ac:chgData name="Theo Moers" userId="93c42d6e-9ee6-4a15-ac8b-0480636beb6e" providerId="ADAL" clId="{9618436E-C307-B840-9A97-9B3E4B9C1692}" dt="2023-09-12T15:37:13.963" v="207"/>
          <ac:graphicFrameMkLst>
            <pc:docMk/>
            <pc:sldMasterMk cId="1655035539" sldId="2147483648"/>
            <ac:graphicFrameMk id="8" creationId="{5881562F-A6D9-DEE4-0C0D-F1A4E1D28959}"/>
          </ac:graphicFrameMkLst>
        </pc:graphicFrameChg>
      </pc:sldMasterChg>
      <pc:sldMasterChg chg="addSp delSp modSp mod">
        <pc:chgData name="Theo Moers" userId="93c42d6e-9ee6-4a15-ac8b-0480636beb6e" providerId="ADAL" clId="{9618436E-C307-B840-9A97-9B3E4B9C1692}" dt="2023-09-12T15:37:13.942" v="190"/>
        <pc:sldMasterMkLst>
          <pc:docMk/>
          <pc:sldMasterMk cId="3642071694" sldId="2147483660"/>
        </pc:sldMasterMkLst>
        <pc:spChg chg="mod">
          <ac:chgData name="Theo Moers" userId="93c42d6e-9ee6-4a15-ac8b-0480636beb6e" providerId="ADAL" clId="{9618436E-C307-B840-9A97-9B3E4B9C1692}" dt="2023-09-12T15:37:13.762" v="58" actId="948"/>
          <ac:spMkLst>
            <pc:docMk/>
            <pc:sldMasterMk cId="3642071694" sldId="2147483660"/>
            <ac:spMk id="2" creationId="{B0A317E3-5993-41BA-9B67-6D56D5E117C0}"/>
          </ac:spMkLst>
        </pc:spChg>
        <pc:spChg chg="add del mod modVis">
          <ac:chgData name="Theo Moers" userId="93c42d6e-9ee6-4a15-ac8b-0480636beb6e" providerId="ADAL" clId="{9618436E-C307-B840-9A97-9B3E4B9C1692}" dt="2023-09-12T15:37:13.923" v="175"/>
          <ac:spMkLst>
            <pc:docMk/>
            <pc:sldMasterMk cId="3642071694" sldId="2147483660"/>
            <ac:spMk id="7" creationId="{EF0F80C8-AA5C-036A-2C7F-98B1A5E9C38E}"/>
          </ac:spMkLst>
        </pc:spChg>
        <pc:graphicFrameChg chg="add mod modVis replST">
          <ac:chgData name="Theo Moers" userId="93c42d6e-9ee6-4a15-ac8b-0480636beb6e" providerId="ADAL" clId="{9618436E-C307-B840-9A97-9B3E4B9C1692}" dt="2023-09-12T15:37:13.942" v="190"/>
          <ac:graphicFrameMkLst>
            <pc:docMk/>
            <pc:sldMasterMk cId="3642071694" sldId="2147483660"/>
            <ac:graphicFrameMk id="8" creationId="{107CB2F7-49B1-2319-25BA-21AF352F5C1E}"/>
          </ac:graphicFrameMkLst>
        </pc:graphicFrameChg>
      </pc:sldMasterChg>
      <pc:sldMasterChg chg="addSp delSp modSp mod">
        <pc:chgData name="Theo Moers" userId="93c42d6e-9ee6-4a15-ac8b-0480636beb6e" providerId="ADAL" clId="{9618436E-C307-B840-9A97-9B3E4B9C1692}" dt="2023-09-12T15:37:13.922" v="173"/>
        <pc:sldMasterMkLst>
          <pc:docMk/>
          <pc:sldMasterMk cId="560859927" sldId="2147483673"/>
        </pc:sldMasterMkLst>
        <pc:spChg chg="mod">
          <ac:chgData name="Theo Moers" userId="93c42d6e-9ee6-4a15-ac8b-0480636beb6e" providerId="ADAL" clId="{9618436E-C307-B840-9A97-9B3E4B9C1692}" dt="2023-09-12T15:37:13.725" v="20" actId="948"/>
          <ac:spMkLst>
            <pc:docMk/>
            <pc:sldMasterMk cId="560859927" sldId="2147483673"/>
            <ac:spMk id="2" creationId="{74559EFE-6AF5-67D9-599E-03DA81E365FB}"/>
          </ac:spMkLst>
        </pc:spChg>
        <pc:spChg chg="add del mod modVis">
          <ac:chgData name="Theo Moers" userId="93c42d6e-9ee6-4a15-ac8b-0480636beb6e" providerId="ADAL" clId="{9618436E-C307-B840-9A97-9B3E4B9C1692}" dt="2023-09-12T15:37:13.902" v="158"/>
          <ac:spMkLst>
            <pc:docMk/>
            <pc:sldMasterMk cId="560859927" sldId="2147483673"/>
            <ac:spMk id="7" creationId="{27830B75-80F7-F3D1-FC97-3BB59E41AC38}"/>
          </ac:spMkLst>
        </pc:spChg>
        <pc:graphicFrameChg chg="add mod modVis replST">
          <ac:chgData name="Theo Moers" userId="93c42d6e-9ee6-4a15-ac8b-0480636beb6e" providerId="ADAL" clId="{9618436E-C307-B840-9A97-9B3E4B9C1692}" dt="2023-09-12T15:37:13.922" v="173"/>
          <ac:graphicFrameMkLst>
            <pc:docMk/>
            <pc:sldMasterMk cId="560859927" sldId="2147483673"/>
            <ac:graphicFrameMk id="8" creationId="{78866544-B89F-CC30-7B4D-9AAA631F8FEC}"/>
          </ac:graphicFrameMkLst>
        </pc:graphicFrameChg>
      </pc:sldMasterChg>
    </pc:docChg>
  </pc:docChgLst>
  <pc:docChgLst>
    <pc:chgData name="Munashe Mataranyika" userId="S::munashe.mataranyika@un.org::8bf34bc6-0738-49bf-bff8-dd3b9b5ac436" providerId="AD" clId="Web-{8C1CC344-597D-E898-AE12-2A2DF9786493}"/>
    <pc:docChg chg="modSld">
      <pc:chgData name="Munashe Mataranyika" userId="S::munashe.mataranyika@un.org::8bf34bc6-0738-49bf-bff8-dd3b9b5ac436" providerId="AD" clId="Web-{8C1CC344-597D-E898-AE12-2A2DF9786493}" dt="2023-09-12T19:46:12.483" v="4" actId="20577"/>
      <pc:docMkLst>
        <pc:docMk/>
      </pc:docMkLst>
      <pc:sldChg chg="modSp">
        <pc:chgData name="Munashe Mataranyika" userId="S::munashe.mataranyika@un.org::8bf34bc6-0738-49bf-bff8-dd3b9b5ac436" providerId="AD" clId="Web-{8C1CC344-597D-E898-AE12-2A2DF9786493}" dt="2023-09-12T19:46:12.483" v="4" actId="20577"/>
        <pc:sldMkLst>
          <pc:docMk/>
          <pc:sldMk cId="676325151" sldId="285"/>
        </pc:sldMkLst>
        <pc:spChg chg="mod">
          <ac:chgData name="Munashe Mataranyika" userId="S::munashe.mataranyika@un.org::8bf34bc6-0738-49bf-bff8-dd3b9b5ac436" providerId="AD" clId="Web-{8C1CC344-597D-E898-AE12-2A2DF9786493}" dt="2023-09-12T19:46:12.483" v="4" actId="20577"/>
          <ac:spMkLst>
            <pc:docMk/>
            <pc:sldMk cId="676325151" sldId="285"/>
            <ac:spMk id="18" creationId="{BCC7EBB6-A286-BE2C-772C-D3A9CEF87B37}"/>
          </ac:spMkLst>
        </pc:spChg>
      </pc:sldChg>
    </pc:docChg>
  </pc:docChgLst>
  <pc:docChgLst>
    <pc:chgData name="Theo Moers" userId="S::theo.moers@un.org::93c42d6e-9ee6-4a15-ac8b-0480636beb6e" providerId="AD" clId="Web-{6EE55E2B-6C5D-4E53-A514-CEC2AEA6896F}"/>
    <pc:docChg chg="modSld">
      <pc:chgData name="Theo Moers" userId="S::theo.moers@un.org::93c42d6e-9ee6-4a15-ac8b-0480636beb6e" providerId="AD" clId="Web-{6EE55E2B-6C5D-4E53-A514-CEC2AEA6896F}" dt="2023-09-12T19:26:10.699" v="0" actId="20577"/>
      <pc:docMkLst>
        <pc:docMk/>
      </pc:docMkLst>
      <pc:sldChg chg="modSp">
        <pc:chgData name="Theo Moers" userId="S::theo.moers@un.org::93c42d6e-9ee6-4a15-ac8b-0480636beb6e" providerId="AD" clId="Web-{6EE55E2B-6C5D-4E53-A514-CEC2AEA6896F}" dt="2023-09-12T19:26:10.699" v="0" actId="20577"/>
        <pc:sldMkLst>
          <pc:docMk/>
          <pc:sldMk cId="2259650141" sldId="293"/>
        </pc:sldMkLst>
        <pc:spChg chg="mod">
          <ac:chgData name="Theo Moers" userId="S::theo.moers@un.org::93c42d6e-9ee6-4a15-ac8b-0480636beb6e" providerId="AD" clId="Web-{6EE55E2B-6C5D-4E53-A514-CEC2AEA6896F}" dt="2023-09-12T19:26:10.699" v="0" actId="20577"/>
          <ac:spMkLst>
            <pc:docMk/>
            <pc:sldMk cId="2259650141" sldId="293"/>
            <ac:spMk id="10" creationId="{E9B8FE5A-AE54-4675-969E-BF622F732C1E}"/>
          </ac:spMkLst>
        </pc:spChg>
      </pc:sldChg>
    </pc:docChg>
  </pc:docChgLst>
</pc:chgInfo>
</file>

<file path=ppt/comments/modernComment_120_6F6141F6.xml><?xml version="1.0" encoding="utf-8"?>
<p188:cmLst xmlns:a="http://schemas.openxmlformats.org/drawingml/2006/main" xmlns:r="http://schemas.openxmlformats.org/officeDocument/2006/relationships" xmlns:p188="http://schemas.microsoft.com/office/powerpoint/2018/8/main">
  <p188:cm id="{ED6B64AF-E61C-1448-B86D-BF74AC5B7DEB}" authorId="{B3180EE9-8840-252B-DBF1-C2E4DA6C7675}" created="2023-09-12T16:31:10.864">
    <ac:txMkLst xmlns:ac="http://schemas.microsoft.com/office/drawing/2013/main/command">
      <pc:docMk xmlns:pc="http://schemas.microsoft.com/office/powerpoint/2013/main/command"/>
      <pc:sldMk xmlns:pc="http://schemas.microsoft.com/office/powerpoint/2013/main/command" cId="1868644854" sldId="288"/>
      <ac:spMk id="18" creationId="{BCC7EBB6-A286-BE2C-772C-D3A9CEF87B37}"/>
      <ac:txMk cp="385" len="24">
        <ac:context len="481" hash="3432304220"/>
      </ac:txMk>
    </ac:txMkLst>
    <p188:pos x="4563119" y="3331050"/>
    <p188:txBody>
      <a:bodyPr/>
      <a:lstStyle/>
      <a:p>
        <a:r>
          <a:rPr lang="en-US"/>
          <a:t>Do we mandate a method for calculating the discount rate or is that up to the project manager?</a:t>
        </a:r>
      </a:p>
    </p188:txBody>
  </p188:cm>
  <p188:cm id="{A85740C0-8E4E-4D57-B2D7-C76A6CC01BDB}" authorId="{B0F6BDC3-A126-B8CF-0930-6F2F74DA2B11}" created="2023-11-29T17:11:40.832">
    <ac:txMkLst xmlns:ac="http://schemas.microsoft.com/office/drawing/2013/main/command">
      <pc:docMk xmlns:pc="http://schemas.microsoft.com/office/powerpoint/2013/main/command"/>
      <pc:sldMk xmlns:pc="http://schemas.microsoft.com/office/powerpoint/2013/main/command" cId="1868644854" sldId="288"/>
      <ac:spMk id="18" creationId="{BCC7EBB6-A286-BE2C-772C-D3A9CEF87B37}"/>
      <ac:txMk cp="278" len="29">
        <ac:context len="481" hash="3432304220"/>
      </ac:txMk>
    </ac:txMkLst>
    <p188:pos x="6164680" y="2803093"/>
    <p188:txBody>
      <a:bodyPr/>
      <a:lstStyle/>
      <a:p>
        <a:r>
          <a:rPr lang="en-US"/>
          <a:t>The investor mapping formula uses the rate of return for the whole project without the risk premium and not adjusted for inflation. Should we replace the IRR with just the Rate of Return and if not, is there value in having both reflected?</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8EA9D4-28BD-40EC-AF7A-8EAC0A238EB8}"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3CB00123-0EC4-4EEC-AC84-12446F7923D6}">
      <dgm:prSet custT="1"/>
      <dgm:spPr/>
      <dgm:t>
        <a:bodyPr/>
        <a:lstStyle/>
        <a:p>
          <a:pPr>
            <a:lnSpc>
              <a:spcPct val="100000"/>
            </a:lnSpc>
            <a:defRPr cap="all"/>
          </a:pPr>
          <a:r>
            <a:rPr lang="en-US" sz="1200">
              <a:solidFill>
                <a:sysClr val="windowText" lastClr="000000"/>
              </a:solidFill>
              <a:latin typeface="Roboto" panose="02000000000000000000" pitchFamily="2" charset="0"/>
              <a:ea typeface="Roboto" panose="02000000000000000000" pitchFamily="2" charset="0"/>
              <a:cs typeface="Roboto" panose="02000000000000000000" pitchFamily="2" charset="0"/>
            </a:rPr>
            <a:t>Restate Executive Summary</a:t>
          </a:r>
        </a:p>
      </dgm:t>
    </dgm:pt>
    <dgm:pt modelId="{3A57853D-A2E9-4512-8A14-A42FDED41F2B}" type="parTrans" cxnId="{A5AD2999-3541-4B07-A95F-45AC57185DAA}">
      <dgm:prSet/>
      <dgm:spPr/>
      <dgm:t>
        <a:bodyPr/>
        <a:lstStyle/>
        <a:p>
          <a:endParaRPr lang="en-US" sz="20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B3FEF2D6-7732-4D18-A4E4-EF03F23D9715}" type="sibTrans" cxnId="{A5AD2999-3541-4B07-A95F-45AC57185DAA}">
      <dgm:prSet/>
      <dgm:spPr/>
      <dgm:t>
        <a:bodyPr/>
        <a:lstStyle/>
        <a:p>
          <a:endParaRPr lang="en-US" sz="20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4157543A-6D94-47C9-B341-43A2F2B360D9}">
      <dgm:prSet custT="1"/>
      <dgm:spPr/>
      <dgm:t>
        <a:bodyPr/>
        <a:lstStyle/>
        <a:p>
          <a:pPr>
            <a:lnSpc>
              <a:spcPct val="100000"/>
            </a:lnSpc>
            <a:defRPr cap="all"/>
          </a:pPr>
          <a:r>
            <a:rPr lang="en-GB" sz="1200">
              <a:solidFill>
                <a:sysClr val="windowText" lastClr="000000"/>
              </a:solidFill>
              <a:latin typeface="Roboto" panose="02000000000000000000" pitchFamily="2" charset="0"/>
              <a:ea typeface="Roboto" panose="02000000000000000000" pitchFamily="2" charset="0"/>
              <a:cs typeface="Roboto" panose="02000000000000000000" pitchFamily="2" charset="0"/>
            </a:rPr>
            <a:t>Ensure there is a point of contact with contact information on all documents to be circulated to investors</a:t>
          </a:r>
          <a:endParaRPr lang="en-US" sz="12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9CF11F71-9646-48FD-BE6A-E2C692E52942}" type="parTrans" cxnId="{A8862971-204D-4BEC-A508-3B8E1F553F69}">
      <dgm:prSet/>
      <dgm:spPr/>
      <dgm:t>
        <a:bodyPr/>
        <a:lstStyle/>
        <a:p>
          <a:endParaRPr lang="en-US" sz="20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EDEECA87-A358-4837-B9AE-FAB8578E5161}" type="sibTrans" cxnId="{A8862971-204D-4BEC-A508-3B8E1F553F69}">
      <dgm:prSet/>
      <dgm:spPr/>
      <dgm:t>
        <a:bodyPr/>
        <a:lstStyle/>
        <a:p>
          <a:endParaRPr lang="en-US" sz="20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8BA451E4-DB0A-406B-A00C-77306812CEF6}">
      <dgm:prSet custT="1"/>
      <dgm:spPr/>
      <dgm:t>
        <a:bodyPr/>
        <a:lstStyle/>
        <a:p>
          <a:pPr>
            <a:lnSpc>
              <a:spcPct val="100000"/>
            </a:lnSpc>
            <a:defRPr cap="all"/>
          </a:pPr>
          <a:r>
            <a:rPr lang="en-US" sz="1200" b="1">
              <a:solidFill>
                <a:sysClr val="windowText" lastClr="000000"/>
              </a:solidFill>
              <a:latin typeface="Roboto" panose="02000000000000000000" pitchFamily="2" charset="0"/>
              <a:ea typeface="Roboto" panose="02000000000000000000" pitchFamily="2" charset="0"/>
              <a:cs typeface="Roboto" panose="02000000000000000000" pitchFamily="2" charset="0"/>
            </a:rPr>
            <a:t>Do investors know what you want?  </a:t>
          </a:r>
        </a:p>
        <a:p>
          <a:pPr>
            <a:lnSpc>
              <a:spcPct val="100000"/>
            </a:lnSpc>
            <a:defRPr cap="all"/>
          </a:pPr>
          <a:r>
            <a:rPr lang="en-US" sz="1200" b="1">
              <a:solidFill>
                <a:sysClr val="windowText" lastClr="000000"/>
              </a:solidFill>
              <a:latin typeface="Roboto" panose="02000000000000000000" pitchFamily="2" charset="0"/>
              <a:ea typeface="Roboto" panose="02000000000000000000" pitchFamily="2" charset="0"/>
              <a:cs typeface="Roboto" panose="02000000000000000000" pitchFamily="2" charset="0"/>
            </a:rPr>
            <a:t>Do you have a clear “ask”? </a:t>
          </a:r>
          <a:endParaRPr lang="en-US" sz="12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D54051C4-7F85-410A-A2A6-9A8431C3DA13}" type="parTrans" cxnId="{6D38E69E-DF25-4E8B-9B6E-2DCA6CF76E4F}">
      <dgm:prSet/>
      <dgm:spPr/>
      <dgm:t>
        <a:bodyPr/>
        <a:lstStyle/>
        <a:p>
          <a:endParaRPr lang="en-US" sz="20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3F0C03F1-3DC5-460E-9CA9-04F74839807A}" type="sibTrans" cxnId="{6D38E69E-DF25-4E8B-9B6E-2DCA6CF76E4F}">
      <dgm:prSet/>
      <dgm:spPr/>
      <dgm:t>
        <a:bodyPr/>
        <a:lstStyle/>
        <a:p>
          <a:endParaRPr lang="en-US" sz="20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gm:t>
    </dgm:pt>
    <dgm:pt modelId="{BE4C706F-1E08-4B05-ACE3-F9BE5A4D1C8D}" type="pres">
      <dgm:prSet presAssocID="{E38EA9D4-28BD-40EC-AF7A-8EAC0A238EB8}" presName="root" presStyleCnt="0">
        <dgm:presLayoutVars>
          <dgm:dir/>
          <dgm:resizeHandles val="exact"/>
        </dgm:presLayoutVars>
      </dgm:prSet>
      <dgm:spPr/>
    </dgm:pt>
    <dgm:pt modelId="{000A3E10-69DC-400A-A743-D98DCC16E12C}" type="pres">
      <dgm:prSet presAssocID="{3CB00123-0EC4-4EEC-AC84-12446F7923D6}" presName="compNode" presStyleCnt="0"/>
      <dgm:spPr/>
    </dgm:pt>
    <dgm:pt modelId="{4FF567E3-B0F4-4EC7-9D11-91497F6267EE}" type="pres">
      <dgm:prSet presAssocID="{3CB00123-0EC4-4EEC-AC84-12446F7923D6}" presName="iconBgRect" presStyleLbl="bgShp" presStyleIdx="0" presStyleCnt="3"/>
      <dgm:spPr>
        <a:solidFill>
          <a:srgbClr val="009EDB"/>
        </a:solidFill>
      </dgm:spPr>
    </dgm:pt>
    <dgm:pt modelId="{84A32AF0-DF17-4AA6-B76C-317B3C0E89F4}" type="pres">
      <dgm:prSet presAssocID="{3CB00123-0EC4-4EEC-AC84-12446F7923D6}" presName="iconRect" presStyleLbl="node1" presStyleIdx="0" presStyleCnt="3" custScaleY="100054" custLinFactNeighborX="2371" custLinFactNeighborY="-2407"/>
      <dgm:spPr>
        <a:noFill/>
        <a:ln>
          <a:noFill/>
        </a:ln>
      </dgm:spPr>
    </dgm:pt>
    <dgm:pt modelId="{2E76F264-A768-4FA1-B460-4E8D767EFB0E}" type="pres">
      <dgm:prSet presAssocID="{3CB00123-0EC4-4EEC-AC84-12446F7923D6}" presName="spaceRect" presStyleCnt="0"/>
      <dgm:spPr/>
    </dgm:pt>
    <dgm:pt modelId="{9AC6482D-0395-4B34-AC78-2D2EADDA9983}" type="pres">
      <dgm:prSet presAssocID="{3CB00123-0EC4-4EEC-AC84-12446F7923D6}" presName="textRect" presStyleLbl="revTx" presStyleIdx="0" presStyleCnt="3">
        <dgm:presLayoutVars>
          <dgm:chMax val="1"/>
          <dgm:chPref val="1"/>
        </dgm:presLayoutVars>
      </dgm:prSet>
      <dgm:spPr/>
    </dgm:pt>
    <dgm:pt modelId="{783E6D4F-D433-4FF5-8D50-B7E0C68FE1A0}" type="pres">
      <dgm:prSet presAssocID="{B3FEF2D6-7732-4D18-A4E4-EF03F23D9715}" presName="sibTrans" presStyleCnt="0"/>
      <dgm:spPr/>
    </dgm:pt>
    <dgm:pt modelId="{39E30EE2-807D-4708-A4FC-CE7A9DD44839}" type="pres">
      <dgm:prSet presAssocID="{4157543A-6D94-47C9-B341-43A2F2B360D9}" presName="compNode" presStyleCnt="0"/>
      <dgm:spPr/>
    </dgm:pt>
    <dgm:pt modelId="{BA38A7F6-393A-4C76-874A-A6D31A0BE1F4}" type="pres">
      <dgm:prSet presAssocID="{4157543A-6D94-47C9-B341-43A2F2B360D9}" presName="iconBgRect" presStyleLbl="bgShp" presStyleIdx="1" presStyleCnt="3"/>
      <dgm:spPr>
        <a:solidFill>
          <a:srgbClr val="009EDB"/>
        </a:solidFill>
      </dgm:spPr>
    </dgm:pt>
    <dgm:pt modelId="{AE360265-4A48-48CE-8EE4-7DD46CD1BFBB}" type="pres">
      <dgm:prSet presAssocID="{4157543A-6D94-47C9-B341-43A2F2B360D9}" presName="iconRect" presStyleLbl="node1" presStyleIdx="1" presStyleCnt="3"/>
      <dgm:spPr>
        <a:noFill/>
        <a:ln>
          <a:noFill/>
        </a:ln>
      </dgm:spPr>
    </dgm:pt>
    <dgm:pt modelId="{6E8F5E10-8E8B-40F9-AC4C-C8907999EF46}" type="pres">
      <dgm:prSet presAssocID="{4157543A-6D94-47C9-B341-43A2F2B360D9}" presName="spaceRect" presStyleCnt="0"/>
      <dgm:spPr/>
    </dgm:pt>
    <dgm:pt modelId="{883A9B4B-2387-4A90-B1B0-1DD8E0A55BC2}" type="pres">
      <dgm:prSet presAssocID="{4157543A-6D94-47C9-B341-43A2F2B360D9}" presName="textRect" presStyleLbl="revTx" presStyleIdx="1" presStyleCnt="3">
        <dgm:presLayoutVars>
          <dgm:chMax val="1"/>
          <dgm:chPref val="1"/>
        </dgm:presLayoutVars>
      </dgm:prSet>
      <dgm:spPr/>
    </dgm:pt>
    <dgm:pt modelId="{9FFD32F9-6211-4FAD-9D49-81662116C5FB}" type="pres">
      <dgm:prSet presAssocID="{EDEECA87-A358-4837-B9AE-FAB8578E5161}" presName="sibTrans" presStyleCnt="0"/>
      <dgm:spPr/>
    </dgm:pt>
    <dgm:pt modelId="{E57766F1-CDC7-4AE6-9AC2-C7FC94D77813}" type="pres">
      <dgm:prSet presAssocID="{8BA451E4-DB0A-406B-A00C-77306812CEF6}" presName="compNode" presStyleCnt="0"/>
      <dgm:spPr/>
    </dgm:pt>
    <dgm:pt modelId="{7D388215-AFCA-4F3D-A83A-F55BC3938FDF}" type="pres">
      <dgm:prSet presAssocID="{8BA451E4-DB0A-406B-A00C-77306812CEF6}" presName="iconBgRect" presStyleLbl="bgShp" presStyleIdx="2" presStyleCnt="3"/>
      <dgm:spPr>
        <a:solidFill>
          <a:srgbClr val="009EDB"/>
        </a:solidFill>
      </dgm:spPr>
    </dgm:pt>
    <dgm:pt modelId="{56264D23-1D37-4F1B-A717-588288CC596C}" type="pres">
      <dgm:prSet presAssocID="{8BA451E4-DB0A-406B-A00C-77306812CEF6}" presName="iconRect" presStyleLbl="node1" presStyleIdx="2" presStyleCnt="3"/>
      <dgm:spPr>
        <a:noFill/>
        <a:ln>
          <a:noFill/>
        </a:ln>
      </dgm:spPr>
    </dgm:pt>
    <dgm:pt modelId="{597078B9-EA79-470C-9BA3-3106F18A3FD7}" type="pres">
      <dgm:prSet presAssocID="{8BA451E4-DB0A-406B-A00C-77306812CEF6}" presName="spaceRect" presStyleCnt="0"/>
      <dgm:spPr/>
    </dgm:pt>
    <dgm:pt modelId="{B51BA5BE-A54D-4FB2-989F-144B39D3A148}" type="pres">
      <dgm:prSet presAssocID="{8BA451E4-DB0A-406B-A00C-77306812CEF6}" presName="textRect" presStyleLbl="revTx" presStyleIdx="2" presStyleCnt="3">
        <dgm:presLayoutVars>
          <dgm:chMax val="1"/>
          <dgm:chPref val="1"/>
        </dgm:presLayoutVars>
      </dgm:prSet>
      <dgm:spPr/>
    </dgm:pt>
  </dgm:ptLst>
  <dgm:cxnLst>
    <dgm:cxn modelId="{FF3E1934-C532-4301-BA8C-DECD89A677AC}" type="presOf" srcId="{8BA451E4-DB0A-406B-A00C-77306812CEF6}" destId="{B51BA5BE-A54D-4FB2-989F-144B39D3A148}" srcOrd="0" destOrd="0" presId="urn:microsoft.com/office/officeart/2018/5/layout/IconCircleLabelList"/>
    <dgm:cxn modelId="{4EF8D45B-6D5A-4E85-8F72-717517E049C2}" type="presOf" srcId="{3CB00123-0EC4-4EEC-AC84-12446F7923D6}" destId="{9AC6482D-0395-4B34-AC78-2D2EADDA9983}" srcOrd="0" destOrd="0" presId="urn:microsoft.com/office/officeart/2018/5/layout/IconCircleLabelList"/>
    <dgm:cxn modelId="{8CB9CF6D-92B4-4750-AAF1-7EE7E0ED2668}" type="presOf" srcId="{E38EA9D4-28BD-40EC-AF7A-8EAC0A238EB8}" destId="{BE4C706F-1E08-4B05-ACE3-F9BE5A4D1C8D}" srcOrd="0" destOrd="0" presId="urn:microsoft.com/office/officeart/2018/5/layout/IconCircleLabelList"/>
    <dgm:cxn modelId="{A8862971-204D-4BEC-A508-3B8E1F553F69}" srcId="{E38EA9D4-28BD-40EC-AF7A-8EAC0A238EB8}" destId="{4157543A-6D94-47C9-B341-43A2F2B360D9}" srcOrd="1" destOrd="0" parTransId="{9CF11F71-9646-48FD-BE6A-E2C692E52942}" sibTransId="{EDEECA87-A358-4837-B9AE-FAB8578E5161}"/>
    <dgm:cxn modelId="{A5AD2999-3541-4B07-A95F-45AC57185DAA}" srcId="{E38EA9D4-28BD-40EC-AF7A-8EAC0A238EB8}" destId="{3CB00123-0EC4-4EEC-AC84-12446F7923D6}" srcOrd="0" destOrd="0" parTransId="{3A57853D-A2E9-4512-8A14-A42FDED41F2B}" sibTransId="{B3FEF2D6-7732-4D18-A4E4-EF03F23D9715}"/>
    <dgm:cxn modelId="{6D38E69E-DF25-4E8B-9B6E-2DCA6CF76E4F}" srcId="{E38EA9D4-28BD-40EC-AF7A-8EAC0A238EB8}" destId="{8BA451E4-DB0A-406B-A00C-77306812CEF6}" srcOrd="2" destOrd="0" parTransId="{D54051C4-7F85-410A-A2A6-9A8431C3DA13}" sibTransId="{3F0C03F1-3DC5-460E-9CA9-04F74839807A}"/>
    <dgm:cxn modelId="{E85380DD-8533-4D87-9137-64F6F861ED8F}" type="presOf" srcId="{4157543A-6D94-47C9-B341-43A2F2B360D9}" destId="{883A9B4B-2387-4A90-B1B0-1DD8E0A55BC2}" srcOrd="0" destOrd="0" presId="urn:microsoft.com/office/officeart/2018/5/layout/IconCircleLabelList"/>
    <dgm:cxn modelId="{A3407D62-CAF3-4E5C-98CE-70AC74A0C72E}" type="presParOf" srcId="{BE4C706F-1E08-4B05-ACE3-F9BE5A4D1C8D}" destId="{000A3E10-69DC-400A-A743-D98DCC16E12C}" srcOrd="0" destOrd="0" presId="urn:microsoft.com/office/officeart/2018/5/layout/IconCircleLabelList"/>
    <dgm:cxn modelId="{F902A1FA-CAA0-4D70-9BA0-1115BB3EAAA0}" type="presParOf" srcId="{000A3E10-69DC-400A-A743-D98DCC16E12C}" destId="{4FF567E3-B0F4-4EC7-9D11-91497F6267EE}" srcOrd="0" destOrd="0" presId="urn:microsoft.com/office/officeart/2018/5/layout/IconCircleLabelList"/>
    <dgm:cxn modelId="{53835236-267A-4A34-91EC-C59ACA8E1566}" type="presParOf" srcId="{000A3E10-69DC-400A-A743-D98DCC16E12C}" destId="{84A32AF0-DF17-4AA6-B76C-317B3C0E89F4}" srcOrd="1" destOrd="0" presId="urn:microsoft.com/office/officeart/2018/5/layout/IconCircleLabelList"/>
    <dgm:cxn modelId="{023622B2-C6CF-4B58-9278-4A517CB41D65}" type="presParOf" srcId="{000A3E10-69DC-400A-A743-D98DCC16E12C}" destId="{2E76F264-A768-4FA1-B460-4E8D767EFB0E}" srcOrd="2" destOrd="0" presId="urn:microsoft.com/office/officeart/2018/5/layout/IconCircleLabelList"/>
    <dgm:cxn modelId="{45F64C01-CE9F-45B5-84E5-78BE4856A05A}" type="presParOf" srcId="{000A3E10-69DC-400A-A743-D98DCC16E12C}" destId="{9AC6482D-0395-4B34-AC78-2D2EADDA9983}" srcOrd="3" destOrd="0" presId="urn:microsoft.com/office/officeart/2018/5/layout/IconCircleLabelList"/>
    <dgm:cxn modelId="{C99A547F-384F-4A37-BB66-7E39729D02C1}" type="presParOf" srcId="{BE4C706F-1E08-4B05-ACE3-F9BE5A4D1C8D}" destId="{783E6D4F-D433-4FF5-8D50-B7E0C68FE1A0}" srcOrd="1" destOrd="0" presId="urn:microsoft.com/office/officeart/2018/5/layout/IconCircleLabelList"/>
    <dgm:cxn modelId="{77ADEEA5-B206-4B99-85DF-53EC55FE30BD}" type="presParOf" srcId="{BE4C706F-1E08-4B05-ACE3-F9BE5A4D1C8D}" destId="{39E30EE2-807D-4708-A4FC-CE7A9DD44839}" srcOrd="2" destOrd="0" presId="urn:microsoft.com/office/officeart/2018/5/layout/IconCircleLabelList"/>
    <dgm:cxn modelId="{869D9757-BFC4-4E57-9799-9F9A98A46AC6}" type="presParOf" srcId="{39E30EE2-807D-4708-A4FC-CE7A9DD44839}" destId="{BA38A7F6-393A-4C76-874A-A6D31A0BE1F4}" srcOrd="0" destOrd="0" presId="urn:microsoft.com/office/officeart/2018/5/layout/IconCircleLabelList"/>
    <dgm:cxn modelId="{4D243EBB-6782-4FC8-A6D1-F7A4B0574C92}" type="presParOf" srcId="{39E30EE2-807D-4708-A4FC-CE7A9DD44839}" destId="{AE360265-4A48-48CE-8EE4-7DD46CD1BFBB}" srcOrd="1" destOrd="0" presId="urn:microsoft.com/office/officeart/2018/5/layout/IconCircleLabelList"/>
    <dgm:cxn modelId="{5CAC223E-5FB2-4B34-B6DC-D266B4D5958D}" type="presParOf" srcId="{39E30EE2-807D-4708-A4FC-CE7A9DD44839}" destId="{6E8F5E10-8E8B-40F9-AC4C-C8907999EF46}" srcOrd="2" destOrd="0" presId="urn:microsoft.com/office/officeart/2018/5/layout/IconCircleLabelList"/>
    <dgm:cxn modelId="{291C7B70-F0A2-47E6-9256-3EC53C0A883A}" type="presParOf" srcId="{39E30EE2-807D-4708-A4FC-CE7A9DD44839}" destId="{883A9B4B-2387-4A90-B1B0-1DD8E0A55BC2}" srcOrd="3" destOrd="0" presId="urn:microsoft.com/office/officeart/2018/5/layout/IconCircleLabelList"/>
    <dgm:cxn modelId="{EB5D6F6A-1019-43EE-8612-F54BDBCC54D8}" type="presParOf" srcId="{BE4C706F-1E08-4B05-ACE3-F9BE5A4D1C8D}" destId="{9FFD32F9-6211-4FAD-9D49-81662116C5FB}" srcOrd="3" destOrd="0" presId="urn:microsoft.com/office/officeart/2018/5/layout/IconCircleLabelList"/>
    <dgm:cxn modelId="{F74190F7-BA49-47E0-9AA0-13FDA4C50907}" type="presParOf" srcId="{BE4C706F-1E08-4B05-ACE3-F9BE5A4D1C8D}" destId="{E57766F1-CDC7-4AE6-9AC2-C7FC94D77813}" srcOrd="4" destOrd="0" presId="urn:microsoft.com/office/officeart/2018/5/layout/IconCircleLabelList"/>
    <dgm:cxn modelId="{4F2DCD0C-AA20-4759-BB15-529D778CB084}" type="presParOf" srcId="{E57766F1-CDC7-4AE6-9AC2-C7FC94D77813}" destId="{7D388215-AFCA-4F3D-A83A-F55BC3938FDF}" srcOrd="0" destOrd="0" presId="urn:microsoft.com/office/officeart/2018/5/layout/IconCircleLabelList"/>
    <dgm:cxn modelId="{3B5E9999-95E2-42C8-80A3-A56E61C8DC60}" type="presParOf" srcId="{E57766F1-CDC7-4AE6-9AC2-C7FC94D77813}" destId="{56264D23-1D37-4F1B-A717-588288CC596C}" srcOrd="1" destOrd="0" presId="urn:microsoft.com/office/officeart/2018/5/layout/IconCircleLabelList"/>
    <dgm:cxn modelId="{7209E850-E218-4AF1-B4C6-6545AE38F6F5}" type="presParOf" srcId="{E57766F1-CDC7-4AE6-9AC2-C7FC94D77813}" destId="{597078B9-EA79-470C-9BA3-3106F18A3FD7}" srcOrd="2" destOrd="0" presId="urn:microsoft.com/office/officeart/2018/5/layout/IconCircleLabelList"/>
    <dgm:cxn modelId="{E264B27A-93CB-4890-9C13-CA0878901613}" type="presParOf" srcId="{E57766F1-CDC7-4AE6-9AC2-C7FC94D77813}" destId="{B51BA5BE-A54D-4FB2-989F-144B39D3A148}" srcOrd="3" destOrd="0" presId="urn:microsoft.com/office/officeart/2018/5/layout/IconCircleLabelList"/>
  </dgm:cxnLst>
  <dgm:bg>
    <a:noFill/>
  </dgm:bg>
  <dgm:whole>
    <a:ln>
      <a:noFill/>
    </a:ln>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567E3-B0F4-4EC7-9D11-91497F6267EE}">
      <dsp:nvSpPr>
        <dsp:cNvPr id="0" name=""/>
        <dsp:cNvSpPr/>
      </dsp:nvSpPr>
      <dsp:spPr>
        <a:xfrm>
          <a:off x="587643" y="324449"/>
          <a:ext cx="1818562" cy="1818562"/>
        </a:xfrm>
        <a:prstGeom prst="ellipse">
          <a:avLst/>
        </a:prstGeom>
        <a:solidFill>
          <a:srgbClr val="009EDB"/>
        </a:solidFill>
        <a:ln>
          <a:noFill/>
        </a:ln>
        <a:effectLst/>
      </dsp:spPr>
      <dsp:style>
        <a:lnRef idx="0">
          <a:scrgbClr r="0" g="0" b="0"/>
        </a:lnRef>
        <a:fillRef idx="1">
          <a:scrgbClr r="0" g="0" b="0"/>
        </a:fillRef>
        <a:effectRef idx="0">
          <a:scrgbClr r="0" g="0" b="0"/>
        </a:effectRef>
        <a:fontRef idx="minor"/>
      </dsp:style>
    </dsp:sp>
    <dsp:sp modelId="{84A32AF0-DF17-4AA6-B76C-317B3C0E89F4}">
      <dsp:nvSpPr>
        <dsp:cNvPr id="0" name=""/>
        <dsp:cNvSpPr/>
      </dsp:nvSpPr>
      <dsp:spPr>
        <a:xfrm>
          <a:off x="999945" y="686615"/>
          <a:ext cx="1043437" cy="10440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AC6482D-0395-4B34-AC78-2D2EADDA9983}">
      <dsp:nvSpPr>
        <dsp:cNvPr id="0" name=""/>
        <dsp:cNvSpPr/>
      </dsp:nvSpPr>
      <dsp:spPr>
        <a:xfrm>
          <a:off x="6299" y="2709450"/>
          <a:ext cx="2981250" cy="742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defRPr cap="all"/>
          </a:pPr>
          <a:r>
            <a:rPr lang="en-US" sz="1200" kern="1200">
              <a:solidFill>
                <a:sysClr val="windowText" lastClr="000000"/>
              </a:solidFill>
              <a:latin typeface="Roboto" panose="02000000000000000000" pitchFamily="2" charset="0"/>
              <a:ea typeface="Roboto" panose="02000000000000000000" pitchFamily="2" charset="0"/>
              <a:cs typeface="Roboto" panose="02000000000000000000" pitchFamily="2" charset="0"/>
            </a:rPr>
            <a:t>Restate Executive Summary</a:t>
          </a:r>
        </a:p>
      </dsp:txBody>
      <dsp:txXfrm>
        <a:off x="6299" y="2709450"/>
        <a:ext cx="2981250" cy="742500"/>
      </dsp:txXfrm>
    </dsp:sp>
    <dsp:sp modelId="{BA38A7F6-393A-4C76-874A-A6D31A0BE1F4}">
      <dsp:nvSpPr>
        <dsp:cNvPr id="0" name=""/>
        <dsp:cNvSpPr/>
      </dsp:nvSpPr>
      <dsp:spPr>
        <a:xfrm>
          <a:off x="4090611" y="324449"/>
          <a:ext cx="1818562" cy="1818562"/>
        </a:xfrm>
        <a:prstGeom prst="ellipse">
          <a:avLst/>
        </a:prstGeom>
        <a:solidFill>
          <a:srgbClr val="009EDB"/>
        </a:solidFill>
        <a:ln>
          <a:noFill/>
        </a:ln>
        <a:effectLst/>
      </dsp:spPr>
      <dsp:style>
        <a:lnRef idx="0">
          <a:scrgbClr r="0" g="0" b="0"/>
        </a:lnRef>
        <a:fillRef idx="1">
          <a:scrgbClr r="0" g="0" b="0"/>
        </a:fillRef>
        <a:effectRef idx="0">
          <a:scrgbClr r="0" g="0" b="0"/>
        </a:effectRef>
        <a:fontRef idx="minor"/>
      </dsp:style>
    </dsp:sp>
    <dsp:sp modelId="{AE360265-4A48-48CE-8EE4-7DD46CD1BFBB}">
      <dsp:nvSpPr>
        <dsp:cNvPr id="0" name=""/>
        <dsp:cNvSpPr/>
      </dsp:nvSpPr>
      <dsp:spPr>
        <a:xfrm>
          <a:off x="4478174" y="712012"/>
          <a:ext cx="1043437" cy="1043437"/>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3A9B4B-2387-4A90-B1B0-1DD8E0A55BC2}">
      <dsp:nvSpPr>
        <dsp:cNvPr id="0" name=""/>
        <dsp:cNvSpPr/>
      </dsp:nvSpPr>
      <dsp:spPr>
        <a:xfrm>
          <a:off x="3509268" y="2709450"/>
          <a:ext cx="2981250" cy="742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defRPr cap="all"/>
          </a:pPr>
          <a:r>
            <a:rPr lang="en-GB" sz="1200" kern="1200">
              <a:solidFill>
                <a:sysClr val="windowText" lastClr="000000"/>
              </a:solidFill>
              <a:latin typeface="Roboto" panose="02000000000000000000" pitchFamily="2" charset="0"/>
              <a:ea typeface="Roboto" panose="02000000000000000000" pitchFamily="2" charset="0"/>
              <a:cs typeface="Roboto" panose="02000000000000000000" pitchFamily="2" charset="0"/>
            </a:rPr>
            <a:t>Ensure there is a point of contact with contact information on all documents to be circulated to investors</a:t>
          </a:r>
          <a:endParaRPr lang="en-US" sz="1200" kern="12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sp:txBody>
      <dsp:txXfrm>
        <a:off x="3509268" y="2709450"/>
        <a:ext cx="2981250" cy="742500"/>
      </dsp:txXfrm>
    </dsp:sp>
    <dsp:sp modelId="{7D388215-AFCA-4F3D-A83A-F55BC3938FDF}">
      <dsp:nvSpPr>
        <dsp:cNvPr id="0" name=""/>
        <dsp:cNvSpPr/>
      </dsp:nvSpPr>
      <dsp:spPr>
        <a:xfrm>
          <a:off x="7593580" y="324449"/>
          <a:ext cx="1818562" cy="1818562"/>
        </a:xfrm>
        <a:prstGeom prst="ellipse">
          <a:avLst/>
        </a:prstGeom>
        <a:solidFill>
          <a:srgbClr val="009EDB"/>
        </a:solidFill>
        <a:ln>
          <a:noFill/>
        </a:ln>
        <a:effectLst/>
      </dsp:spPr>
      <dsp:style>
        <a:lnRef idx="0">
          <a:scrgbClr r="0" g="0" b="0"/>
        </a:lnRef>
        <a:fillRef idx="1">
          <a:scrgbClr r="0" g="0" b="0"/>
        </a:fillRef>
        <a:effectRef idx="0">
          <a:scrgbClr r="0" g="0" b="0"/>
        </a:effectRef>
        <a:fontRef idx="minor"/>
      </dsp:style>
    </dsp:sp>
    <dsp:sp modelId="{56264D23-1D37-4F1B-A717-588288CC596C}">
      <dsp:nvSpPr>
        <dsp:cNvPr id="0" name=""/>
        <dsp:cNvSpPr/>
      </dsp:nvSpPr>
      <dsp:spPr>
        <a:xfrm>
          <a:off x="7981143" y="712012"/>
          <a:ext cx="1043437" cy="1043437"/>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1BA5BE-A54D-4FB2-989F-144B39D3A148}">
      <dsp:nvSpPr>
        <dsp:cNvPr id="0" name=""/>
        <dsp:cNvSpPr/>
      </dsp:nvSpPr>
      <dsp:spPr>
        <a:xfrm>
          <a:off x="7012236" y="2709450"/>
          <a:ext cx="2981250" cy="742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defRPr cap="all"/>
          </a:pPr>
          <a:r>
            <a:rPr lang="en-US" sz="1200" b="1" kern="1200">
              <a:solidFill>
                <a:sysClr val="windowText" lastClr="000000"/>
              </a:solidFill>
              <a:latin typeface="Roboto" panose="02000000000000000000" pitchFamily="2" charset="0"/>
              <a:ea typeface="Roboto" panose="02000000000000000000" pitchFamily="2" charset="0"/>
              <a:cs typeface="Roboto" panose="02000000000000000000" pitchFamily="2" charset="0"/>
            </a:rPr>
            <a:t>Do investors know what you want?  </a:t>
          </a:r>
        </a:p>
        <a:p>
          <a:pPr marL="0" lvl="0" indent="0" algn="ctr" defTabSz="533400">
            <a:lnSpc>
              <a:spcPct val="100000"/>
            </a:lnSpc>
            <a:spcBef>
              <a:spcPct val="0"/>
            </a:spcBef>
            <a:spcAft>
              <a:spcPct val="35000"/>
            </a:spcAft>
            <a:buNone/>
            <a:defRPr cap="all"/>
          </a:pPr>
          <a:r>
            <a:rPr lang="en-US" sz="1200" b="1" kern="1200">
              <a:solidFill>
                <a:sysClr val="windowText" lastClr="000000"/>
              </a:solidFill>
              <a:latin typeface="Roboto" panose="02000000000000000000" pitchFamily="2" charset="0"/>
              <a:ea typeface="Roboto" panose="02000000000000000000" pitchFamily="2" charset="0"/>
              <a:cs typeface="Roboto" panose="02000000000000000000" pitchFamily="2" charset="0"/>
            </a:rPr>
            <a:t>Do you have a clear “ask”? </a:t>
          </a:r>
          <a:endParaRPr lang="en-US" sz="1200" kern="1200">
            <a:solidFill>
              <a:sysClr val="windowText" lastClr="000000"/>
            </a:solidFill>
            <a:latin typeface="Roboto" panose="02000000000000000000" pitchFamily="2" charset="0"/>
            <a:ea typeface="Roboto" panose="02000000000000000000" pitchFamily="2" charset="0"/>
            <a:cs typeface="Roboto" panose="02000000000000000000" pitchFamily="2" charset="0"/>
          </a:endParaRPr>
        </a:p>
      </dsp:txBody>
      <dsp:txXfrm>
        <a:off x="7012236" y="2709450"/>
        <a:ext cx="2981250" cy="742500"/>
      </dsp:txXfrm>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7883C98-F910-4358-94F9-40A7B6DCC40E}"/>
              </a:ext>
            </a:extLst>
          </p:cNvPr>
          <p:cNvSpPr>
            <a:spLocks noGrp="1"/>
          </p:cNvSpPr>
          <p:nvPr>
            <p:ph type="pic" sz="quarter" idx="10"/>
          </p:nvPr>
        </p:nvSpPr>
        <p:spPr>
          <a:xfrm>
            <a:off x="0" y="1306513"/>
            <a:ext cx="12192000" cy="5551487"/>
          </a:xfrm>
        </p:spPr>
        <p:txBody>
          <a:bodyPr/>
          <a:lstStyle/>
          <a:p>
            <a:endParaRPr lang="en-US"/>
          </a:p>
        </p:txBody>
      </p:sp>
    </p:spTree>
    <p:extLst>
      <p:ext uri="{BB962C8B-B14F-4D97-AF65-F5344CB8AC3E}">
        <p14:creationId xmlns:p14="http://schemas.microsoft.com/office/powerpoint/2010/main" val="8526053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9C5C1-0241-40A8-A05A-CE2C146C31A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61609F-4F80-4299-B0C9-171EF04202A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A03190-FCB1-43E1-993A-6583FE4D7603}"/>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5" name="Footer Placeholder 4">
            <a:extLst>
              <a:ext uri="{FF2B5EF4-FFF2-40B4-BE49-F238E27FC236}">
                <a16:creationId xmlns:a16="http://schemas.microsoft.com/office/drawing/2014/main" id="{EF4903C5-6769-497F-8320-8DE30DC731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DA0431-398D-48E8-A819-0C58E3B0C92C}"/>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25991946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7FF310-6E9B-4DBC-861B-57BF5D7B44D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029B743-91DF-40FC-8E6A-6B464B1FD83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202AC5-E34B-45FF-B8A0-E4ADBB692C1A}"/>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5" name="Footer Placeholder 4">
            <a:extLst>
              <a:ext uri="{FF2B5EF4-FFF2-40B4-BE49-F238E27FC236}">
                <a16:creationId xmlns:a16="http://schemas.microsoft.com/office/drawing/2014/main" id="{7B545DAE-67D9-4857-856A-8700BAB9D4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1C3569-FB79-4410-998E-F6C8CC8E7D69}"/>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623720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E030FBF-A577-4B96-8D0E-0FD79EA04A01}"/>
              </a:ext>
            </a:extLst>
          </p:cNvPr>
          <p:cNvSpPr>
            <a:spLocks noGrp="1"/>
          </p:cNvSpPr>
          <p:nvPr>
            <p:ph type="pic" sz="quarter" idx="10"/>
          </p:nvPr>
        </p:nvSpPr>
        <p:spPr>
          <a:xfrm>
            <a:off x="3048" y="1527048"/>
            <a:ext cx="12188952" cy="5330952"/>
          </a:xfrm>
        </p:spPr>
        <p:txBody>
          <a:bodyPr/>
          <a:lstStyle/>
          <a:p>
            <a:endParaRPr lang="en-US"/>
          </a:p>
        </p:txBody>
      </p:sp>
      <p:sp>
        <p:nvSpPr>
          <p:cNvPr id="10" name="Picture Placeholder 9">
            <a:extLst>
              <a:ext uri="{FF2B5EF4-FFF2-40B4-BE49-F238E27FC236}">
                <a16:creationId xmlns:a16="http://schemas.microsoft.com/office/drawing/2014/main" id="{DBE88154-16C0-4CA2-830B-309EA8F105CD}"/>
              </a:ext>
            </a:extLst>
          </p:cNvPr>
          <p:cNvSpPr>
            <a:spLocks noGrp="1" noChangeAspect="1"/>
          </p:cNvSpPr>
          <p:nvPr>
            <p:ph type="pic" sz="quarter" idx="11" hasCustomPrompt="1"/>
          </p:nvPr>
        </p:nvSpPr>
        <p:spPr>
          <a:xfrm>
            <a:off x="7368001" y="1537052"/>
            <a:ext cx="3913632" cy="5330952"/>
          </a:xfrm>
        </p:spPr>
        <p:txBody>
          <a:bodyPr/>
          <a:lstStyle>
            <a:lvl1pPr>
              <a:defRPr/>
            </a:lvl1pPr>
          </a:lstStyle>
          <a:p>
            <a:r>
              <a:rPr lang="en-US"/>
              <a:t>Steps</a:t>
            </a:r>
          </a:p>
        </p:txBody>
      </p:sp>
    </p:spTree>
    <p:extLst>
      <p:ext uri="{BB962C8B-B14F-4D97-AF65-F5344CB8AC3E}">
        <p14:creationId xmlns:p14="http://schemas.microsoft.com/office/powerpoint/2010/main" val="2395606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27B6D-8E29-49B2-8858-15A91CE9F3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977A45-B4E2-4815-80D6-65EDC991AD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CAA852-C49E-4FE5-9A76-BBDF681CC449}"/>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5" name="Footer Placeholder 4">
            <a:extLst>
              <a:ext uri="{FF2B5EF4-FFF2-40B4-BE49-F238E27FC236}">
                <a16:creationId xmlns:a16="http://schemas.microsoft.com/office/drawing/2014/main" id="{014AAF7D-D5F0-4759-A2D4-B8B4098850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18D5D0-1E62-4D5D-82D8-98C18E563C47}"/>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5914768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C79CA-9345-45E7-AD5B-744DB72C43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5C6678-75AE-4CFA-ADA9-BA95E01BAA9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6AFF20-F56E-4EBF-ABE6-23F4FB85B576}"/>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5" name="Footer Placeholder 4">
            <a:extLst>
              <a:ext uri="{FF2B5EF4-FFF2-40B4-BE49-F238E27FC236}">
                <a16:creationId xmlns:a16="http://schemas.microsoft.com/office/drawing/2014/main" id="{EE7ED1E3-23EE-4849-9212-8D7BD1CAAB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DA4D17-DF72-4605-8667-7BFFB6405794}"/>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817813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CB553-199A-41CC-9637-B100BE909A6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03DE3F7-3564-473A-A384-011EFC4B0A6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BF01AEC-AD48-4D72-8311-91E4EF7119DA}"/>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5" name="Footer Placeholder 4">
            <a:extLst>
              <a:ext uri="{FF2B5EF4-FFF2-40B4-BE49-F238E27FC236}">
                <a16:creationId xmlns:a16="http://schemas.microsoft.com/office/drawing/2014/main" id="{66891787-5D8A-4CB4-8B4D-D31BF06FD5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5D380E-B121-4C3D-9799-A95D897DAC4D}"/>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5680406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033F6-61FD-4255-96DD-DC9E7556E1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BA20BB-3394-43F0-B78B-73A3C036752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C559D8C-1106-47A0-A0CB-4000648267B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7A3D0E-373A-4DF8-9BDA-1A98F7755E9A}"/>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6" name="Footer Placeholder 5">
            <a:extLst>
              <a:ext uri="{FF2B5EF4-FFF2-40B4-BE49-F238E27FC236}">
                <a16:creationId xmlns:a16="http://schemas.microsoft.com/office/drawing/2014/main" id="{3CEF5060-0964-47D6-9721-27E5297197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C398F6-F1BA-4DAB-82B5-329BA08A6A99}"/>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231900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0A493-AFB3-4ED6-A240-0518F69867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48EED7A-66EF-421C-9B4F-FB3843C2A8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4D6FC4A-0B63-4D42-961C-C292AA5E218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6AA7AA-C65D-4842-B5A7-AC72B688759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BD99E86-BB4C-433C-A2CB-C36A93F05F2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328E8B-4F60-40F5-9C58-480C184805C8}"/>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8" name="Footer Placeholder 7">
            <a:extLst>
              <a:ext uri="{FF2B5EF4-FFF2-40B4-BE49-F238E27FC236}">
                <a16:creationId xmlns:a16="http://schemas.microsoft.com/office/drawing/2014/main" id="{6B99CE3D-4EA8-488A-8DF8-4E815BAD886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9905025-AD12-4D12-AAA5-CCD78D3746C7}"/>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31098538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2468D-3884-4854-9D6E-2D3CEC494D5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207B8A8-EA57-4687-98A4-3B249B161199}"/>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4" name="Footer Placeholder 3">
            <a:extLst>
              <a:ext uri="{FF2B5EF4-FFF2-40B4-BE49-F238E27FC236}">
                <a16:creationId xmlns:a16="http://schemas.microsoft.com/office/drawing/2014/main" id="{EC5CEEC5-90DE-4F1A-8667-D23B2CC31E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21A73A7-7384-4455-9C7D-EE42371D3161}"/>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40156929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7EABA2-A28E-45FE-B37C-CACA7513EFED}"/>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3" name="Footer Placeholder 2">
            <a:extLst>
              <a:ext uri="{FF2B5EF4-FFF2-40B4-BE49-F238E27FC236}">
                <a16:creationId xmlns:a16="http://schemas.microsoft.com/office/drawing/2014/main" id="{41F0422D-3B10-4D67-BF10-D4E187A9073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5E84C83-831A-46E3-A77D-42553291CB54}"/>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9083717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62A5A-1AD6-41A1-8A9C-ADCD0B6BE2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A10B8B-D2A2-45E5-A128-E0FFBE6607B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4FFB75-9D18-4BD5-BB0E-1405169FBB5C}"/>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5" name="Footer Placeholder 4">
            <a:extLst>
              <a:ext uri="{FF2B5EF4-FFF2-40B4-BE49-F238E27FC236}">
                <a16:creationId xmlns:a16="http://schemas.microsoft.com/office/drawing/2014/main" id="{A4D58660-32DA-4BE7-87E5-433172BAF5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63DB9C-6AAB-4D32-AA9E-0D1DFE965BBB}"/>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26956620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4F0B4-93CD-46AC-BAA2-00B1BE74E8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0BF6EA-AAAF-4F1A-A621-806FB7045F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0C42B7E-D648-4746-B9F5-3225C3E45E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F3700FB-C6E5-4260-B836-25617CDAB5C6}"/>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6" name="Footer Placeholder 5">
            <a:extLst>
              <a:ext uri="{FF2B5EF4-FFF2-40B4-BE49-F238E27FC236}">
                <a16:creationId xmlns:a16="http://schemas.microsoft.com/office/drawing/2014/main" id="{ABF137DC-21F2-42E5-B0F2-40EB6579B2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59BF81-0836-4EC9-BC1E-6B3C35A1FF55}"/>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27933883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33DF1-2A76-471F-A277-2188373C22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2ABA6FE-961C-4715-9002-7846646559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B9BBBEF-E5E3-478F-9EA8-2025252927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8B1E04B-AF87-4FBF-95DB-9F5D0CAF50A1}"/>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6" name="Footer Placeholder 5">
            <a:extLst>
              <a:ext uri="{FF2B5EF4-FFF2-40B4-BE49-F238E27FC236}">
                <a16:creationId xmlns:a16="http://schemas.microsoft.com/office/drawing/2014/main" id="{06402D42-1556-4066-8720-5FD8990B1F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DE7EFB-E462-4A4F-9AC0-326FFC6E8118}"/>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19671044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89B20-45C2-46C4-BC8F-6C648089D1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DBDC0B-D4CF-4680-8065-D2B94D20175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736323-4B01-4BF8-9C61-F2B05A0AC3E9}"/>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5" name="Footer Placeholder 4">
            <a:extLst>
              <a:ext uri="{FF2B5EF4-FFF2-40B4-BE49-F238E27FC236}">
                <a16:creationId xmlns:a16="http://schemas.microsoft.com/office/drawing/2014/main" id="{29D25852-EC3D-4FBD-B96E-C6BBE10C9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3FA2D4-544E-4790-A893-55EF83365919}"/>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5372337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D62D52-77A6-48F6-8D87-7017603647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1DF3B3-7C06-4BBE-B86C-72A7B543299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8F33A3-2CBE-4D2E-9F8E-F89C2EDEF3B7}"/>
              </a:ext>
            </a:extLst>
          </p:cNvPr>
          <p:cNvSpPr>
            <a:spLocks noGrp="1"/>
          </p:cNvSpPr>
          <p:nvPr>
            <p:ph type="dt" sz="half" idx="10"/>
          </p:nvPr>
        </p:nvSpPr>
        <p:spPr/>
        <p:txBody>
          <a:bodyPr/>
          <a:lstStyle/>
          <a:p>
            <a:fld id="{99960827-D15D-47E3-A7D7-4EA733BFE1B5}" type="datetimeFigureOut">
              <a:rPr lang="en-US" smtClean="0"/>
              <a:t>11/28/2023</a:t>
            </a:fld>
            <a:endParaRPr lang="en-US"/>
          </a:p>
        </p:txBody>
      </p:sp>
      <p:sp>
        <p:nvSpPr>
          <p:cNvPr id="5" name="Footer Placeholder 4">
            <a:extLst>
              <a:ext uri="{FF2B5EF4-FFF2-40B4-BE49-F238E27FC236}">
                <a16:creationId xmlns:a16="http://schemas.microsoft.com/office/drawing/2014/main" id="{8E6D9F28-F3B7-4C9F-86BA-B0526D186F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AD9560-14F0-4BC2-9A30-AD4C6FAE6A3C}"/>
              </a:ext>
            </a:extLst>
          </p:cNvPr>
          <p:cNvSpPr>
            <a:spLocks noGrp="1"/>
          </p:cNvSpPr>
          <p:nvPr>
            <p:ph type="sldNum" sz="quarter" idx="12"/>
          </p:nvPr>
        </p:nvSpPr>
        <p:spPr/>
        <p:txBody>
          <a:bodyPr/>
          <a:lstStyle/>
          <a:p>
            <a:fld id="{72BE7B9D-0770-4262-BEB3-C6AB74750405}" type="slidenum">
              <a:rPr lang="en-US" smtClean="0"/>
              <a:t>‹#›</a:t>
            </a:fld>
            <a:endParaRPr lang="en-US"/>
          </a:p>
        </p:txBody>
      </p:sp>
    </p:spTree>
    <p:extLst>
      <p:ext uri="{BB962C8B-B14F-4D97-AF65-F5344CB8AC3E}">
        <p14:creationId xmlns:p14="http://schemas.microsoft.com/office/powerpoint/2010/main" val="12765766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A3254CC-B2A7-F7EA-CC6F-F805C100A717}"/>
              </a:ext>
            </a:extLst>
          </p:cNvPr>
          <p:cNvSpPr>
            <a:spLocks noGrp="1"/>
          </p:cNvSpPr>
          <p:nvPr>
            <p:ph type="subTitle" idx="1" hasCustomPrompt="1"/>
          </p:nvPr>
        </p:nvSpPr>
        <p:spPr>
          <a:xfrm>
            <a:off x="3954461" y="4752022"/>
            <a:ext cx="7666038" cy="962977"/>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10" name="Graphic 9">
            <a:extLst>
              <a:ext uri="{FF2B5EF4-FFF2-40B4-BE49-F238E27FC236}">
                <a16:creationId xmlns:a16="http://schemas.microsoft.com/office/drawing/2014/main" id="{500A5686-3DA8-AF4C-9F2C-878050BBBB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500" y="5943600"/>
            <a:ext cx="1949330" cy="615237"/>
          </a:xfrm>
          <a:prstGeom prst="rect">
            <a:avLst/>
          </a:prstGeom>
        </p:spPr>
      </p:pic>
      <p:sp>
        <p:nvSpPr>
          <p:cNvPr id="14" name="Title 13">
            <a:extLst>
              <a:ext uri="{FF2B5EF4-FFF2-40B4-BE49-F238E27FC236}">
                <a16:creationId xmlns:a16="http://schemas.microsoft.com/office/drawing/2014/main" id="{B9871985-4E89-3092-A1BF-2B88F96147DE}"/>
              </a:ext>
            </a:extLst>
          </p:cNvPr>
          <p:cNvSpPr>
            <a:spLocks noGrp="1"/>
          </p:cNvSpPr>
          <p:nvPr>
            <p:ph type="title" hasCustomPrompt="1"/>
          </p:nvPr>
        </p:nvSpPr>
        <p:spPr>
          <a:xfrm>
            <a:off x="3954462" y="3543301"/>
            <a:ext cx="7666037" cy="1208721"/>
          </a:xfrm>
        </p:spPr>
        <p:txBody>
          <a:bodyPr anchor="b">
            <a:noAutofit/>
          </a:bodyPr>
          <a:lstStyle>
            <a:lvl1pPr>
              <a:defRPr sz="3600"/>
            </a:lvl1pPr>
          </a:lstStyle>
          <a:p>
            <a:r>
              <a:rPr lang="en-US"/>
              <a:t>Cover slide option 1: click to edit title</a:t>
            </a:r>
          </a:p>
        </p:txBody>
      </p:sp>
      <p:sp>
        <p:nvSpPr>
          <p:cNvPr id="20" name="Picture Placeholder 19">
            <a:extLst>
              <a:ext uri="{FF2B5EF4-FFF2-40B4-BE49-F238E27FC236}">
                <a16:creationId xmlns:a16="http://schemas.microsoft.com/office/drawing/2014/main" id="{AD9051A5-79F1-D44C-4370-D119382D81FE}"/>
              </a:ext>
            </a:extLst>
          </p:cNvPr>
          <p:cNvSpPr>
            <a:spLocks noGrp="1"/>
          </p:cNvSpPr>
          <p:nvPr>
            <p:ph type="pic" sz="quarter" idx="13" hasCustomPrompt="1"/>
          </p:nvPr>
        </p:nvSpPr>
        <p:spPr>
          <a:xfrm>
            <a:off x="588963" y="0"/>
            <a:ext cx="11031537" cy="3314700"/>
          </a:xfrm>
          <a:pattFill prst="pct20">
            <a:fgClr>
              <a:schemeClr val="accent1"/>
            </a:fgClr>
            <a:bgClr>
              <a:schemeClr val="bg1"/>
            </a:bgClr>
          </a:pattFill>
        </p:spPr>
        <p:txBody>
          <a:bodyPr anchor="ctr"/>
          <a:lstStyle>
            <a:lvl1pPr algn="ctr">
              <a:defRPr/>
            </a:lvl1pPr>
          </a:lstStyle>
          <a:p>
            <a:r>
              <a:rPr lang="en-US"/>
              <a:t>Click to add a picture</a:t>
            </a:r>
          </a:p>
        </p:txBody>
      </p:sp>
      <p:sp>
        <p:nvSpPr>
          <p:cNvPr id="2" name="Date Placeholder 1">
            <a:extLst>
              <a:ext uri="{FF2B5EF4-FFF2-40B4-BE49-F238E27FC236}">
                <a16:creationId xmlns:a16="http://schemas.microsoft.com/office/drawing/2014/main" id="{7B10E4BB-62FB-4F38-98A9-85BCF1BA4875}"/>
              </a:ext>
            </a:extLst>
          </p:cNvPr>
          <p:cNvSpPr>
            <a:spLocks noGrp="1"/>
          </p:cNvSpPr>
          <p:nvPr>
            <p:ph type="dt" sz="half" idx="14"/>
          </p:nvPr>
        </p:nvSpPr>
        <p:spPr/>
        <p:txBody>
          <a:bodyPr/>
          <a:lstStyle/>
          <a:p>
            <a:fld id="{2A6C5E87-BE1A-7341-A1D8-8634DE9ADCE2}" type="datetime1">
              <a:rPr lang="en-US" smtClean="0"/>
              <a:t>11/28/2023</a:t>
            </a:fld>
            <a:endParaRPr lang="en-US"/>
          </a:p>
        </p:txBody>
      </p:sp>
      <p:sp>
        <p:nvSpPr>
          <p:cNvPr id="4" name="Footer Placeholder 3">
            <a:extLst>
              <a:ext uri="{FF2B5EF4-FFF2-40B4-BE49-F238E27FC236}">
                <a16:creationId xmlns:a16="http://schemas.microsoft.com/office/drawing/2014/main" id="{A56376E0-6444-9A47-8D9E-B72C277311C3}"/>
              </a:ext>
            </a:extLst>
          </p:cNvPr>
          <p:cNvSpPr>
            <a:spLocks noGrp="1"/>
          </p:cNvSpPr>
          <p:nvPr>
            <p:ph type="ftr" sz="quarter" idx="15"/>
          </p:nvPr>
        </p:nvSpPr>
        <p:spPr/>
        <p:txBody>
          <a:bodyPr/>
          <a:lstStyle/>
          <a:p>
            <a:r>
              <a:rPr lang="en-US"/>
              <a:t>How to use this template</a:t>
            </a:r>
          </a:p>
        </p:txBody>
      </p:sp>
      <p:sp>
        <p:nvSpPr>
          <p:cNvPr id="5" name="Slide Number Placeholder 4">
            <a:extLst>
              <a:ext uri="{FF2B5EF4-FFF2-40B4-BE49-F238E27FC236}">
                <a16:creationId xmlns:a16="http://schemas.microsoft.com/office/drawing/2014/main" id="{B05E14BD-D798-B35F-4AFF-A706EE552711}"/>
              </a:ext>
            </a:extLst>
          </p:cNvPr>
          <p:cNvSpPr>
            <a:spLocks noGrp="1"/>
          </p:cNvSpPr>
          <p:nvPr>
            <p:ph type="sldNum" sz="quarter" idx="16"/>
          </p:nvPr>
        </p:nvSpPr>
        <p:spPr/>
        <p:txBody>
          <a:bodyPr/>
          <a:lstStyle/>
          <a:p>
            <a:fld id="{3AEF997A-A681-BA4B-BE23-60D9BF002CFB}" type="slidenum">
              <a:rPr lang="en-US" smtClean="0"/>
              <a:pPr/>
              <a:t>‹#›</a:t>
            </a:fld>
            <a:endParaRPr lang="en-US"/>
          </a:p>
        </p:txBody>
      </p:sp>
    </p:spTree>
    <p:extLst>
      <p:ext uri="{BB962C8B-B14F-4D97-AF65-F5344CB8AC3E}">
        <p14:creationId xmlns:p14="http://schemas.microsoft.com/office/powerpoint/2010/main" val="23399569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A3254CC-B2A7-F7EA-CC6F-F805C100A717}"/>
              </a:ext>
            </a:extLst>
          </p:cNvPr>
          <p:cNvSpPr>
            <a:spLocks noGrp="1"/>
          </p:cNvSpPr>
          <p:nvPr>
            <p:ph type="subTitle" idx="1" hasCustomPrompt="1"/>
          </p:nvPr>
        </p:nvSpPr>
        <p:spPr>
          <a:xfrm>
            <a:off x="588892" y="3314700"/>
            <a:ext cx="4264096" cy="2400299"/>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10" name="Graphic 9">
            <a:extLst>
              <a:ext uri="{FF2B5EF4-FFF2-40B4-BE49-F238E27FC236}">
                <a16:creationId xmlns:a16="http://schemas.microsoft.com/office/drawing/2014/main" id="{500A5686-3DA8-AF4C-9F2C-878050BBBB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8892" y="342900"/>
            <a:ext cx="1949330" cy="615237"/>
          </a:xfrm>
          <a:prstGeom prst="rect">
            <a:avLst/>
          </a:prstGeom>
        </p:spPr>
      </p:pic>
      <p:sp>
        <p:nvSpPr>
          <p:cNvPr id="14" name="Title 13">
            <a:extLst>
              <a:ext uri="{FF2B5EF4-FFF2-40B4-BE49-F238E27FC236}">
                <a16:creationId xmlns:a16="http://schemas.microsoft.com/office/drawing/2014/main" id="{B9871985-4E89-3092-A1BF-2B88F96147DE}"/>
              </a:ext>
            </a:extLst>
          </p:cNvPr>
          <p:cNvSpPr>
            <a:spLocks noGrp="1"/>
          </p:cNvSpPr>
          <p:nvPr>
            <p:ph type="title" hasCustomPrompt="1"/>
          </p:nvPr>
        </p:nvSpPr>
        <p:spPr>
          <a:xfrm>
            <a:off x="569913" y="1150024"/>
            <a:ext cx="4283075" cy="2164676"/>
          </a:xfrm>
        </p:spPr>
        <p:txBody>
          <a:bodyPr anchor="b"/>
          <a:lstStyle/>
          <a:p>
            <a:r>
              <a:rPr lang="en-US"/>
              <a:t>Cover slide option 2: click to edit title</a:t>
            </a:r>
          </a:p>
        </p:txBody>
      </p:sp>
      <p:sp>
        <p:nvSpPr>
          <p:cNvPr id="15" name="Date Placeholder 14">
            <a:extLst>
              <a:ext uri="{FF2B5EF4-FFF2-40B4-BE49-F238E27FC236}">
                <a16:creationId xmlns:a16="http://schemas.microsoft.com/office/drawing/2014/main" id="{2DE5ED27-9E7C-AE4C-1694-3F0BCDE7ED8D}"/>
              </a:ext>
            </a:extLst>
          </p:cNvPr>
          <p:cNvSpPr>
            <a:spLocks noGrp="1"/>
          </p:cNvSpPr>
          <p:nvPr>
            <p:ph type="dt" sz="half" idx="10"/>
          </p:nvPr>
        </p:nvSpPr>
        <p:spPr/>
        <p:txBody>
          <a:bodyPr/>
          <a:lstStyle/>
          <a:p>
            <a:fld id="{EF4E5F17-2510-1F46-AA85-3C1BF8997CC9}" type="datetime1">
              <a:rPr lang="en-US" smtClean="0"/>
              <a:t>11/28/2023</a:t>
            </a:fld>
            <a:endParaRPr lang="en-US"/>
          </a:p>
        </p:txBody>
      </p:sp>
      <p:sp>
        <p:nvSpPr>
          <p:cNvPr id="16" name="Footer Placeholder 15">
            <a:extLst>
              <a:ext uri="{FF2B5EF4-FFF2-40B4-BE49-F238E27FC236}">
                <a16:creationId xmlns:a16="http://schemas.microsoft.com/office/drawing/2014/main" id="{14ADF4A6-927D-EE55-88B4-AAFD12B9A0CD}"/>
              </a:ext>
            </a:extLst>
          </p:cNvPr>
          <p:cNvSpPr>
            <a:spLocks noGrp="1"/>
          </p:cNvSpPr>
          <p:nvPr>
            <p:ph type="ftr" sz="quarter" idx="11"/>
          </p:nvPr>
        </p:nvSpPr>
        <p:spPr/>
        <p:txBody>
          <a:bodyPr/>
          <a:lstStyle/>
          <a:p>
            <a:r>
              <a:rPr lang="en-US"/>
              <a:t>How to use this template</a:t>
            </a:r>
          </a:p>
        </p:txBody>
      </p:sp>
      <p:sp>
        <p:nvSpPr>
          <p:cNvPr id="17" name="Slide Number Placeholder 16">
            <a:extLst>
              <a:ext uri="{FF2B5EF4-FFF2-40B4-BE49-F238E27FC236}">
                <a16:creationId xmlns:a16="http://schemas.microsoft.com/office/drawing/2014/main" id="{3F9BFC5A-2FA6-7C20-CB42-993C8921C8CB}"/>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20" name="Picture Placeholder 19">
            <a:extLst>
              <a:ext uri="{FF2B5EF4-FFF2-40B4-BE49-F238E27FC236}">
                <a16:creationId xmlns:a16="http://schemas.microsoft.com/office/drawing/2014/main" id="{AD9051A5-79F1-D44C-4370-D119382D81FE}"/>
              </a:ext>
            </a:extLst>
          </p:cNvPr>
          <p:cNvSpPr>
            <a:spLocks noGrp="1"/>
          </p:cNvSpPr>
          <p:nvPr>
            <p:ph type="pic" sz="quarter" idx="13" hasCustomPrompt="1"/>
          </p:nvPr>
        </p:nvSpPr>
        <p:spPr>
          <a:xfrm>
            <a:off x="5081588" y="1"/>
            <a:ext cx="6538912" cy="5715000"/>
          </a:xfrm>
          <a:pattFill prst="pct20">
            <a:fgClr>
              <a:schemeClr val="accent1"/>
            </a:fgClr>
            <a:bgClr>
              <a:schemeClr val="bg1"/>
            </a:bgClr>
          </a:pattFill>
        </p:spPr>
        <p:txBody>
          <a:bodyPr anchor="ctr"/>
          <a:lstStyle>
            <a:lvl1pPr algn="ctr">
              <a:defRPr/>
            </a:lvl1pPr>
          </a:lstStyle>
          <a:p>
            <a:r>
              <a:rPr lang="en-US"/>
              <a:t>Click to add a picture</a:t>
            </a:r>
          </a:p>
        </p:txBody>
      </p:sp>
    </p:spTree>
    <p:extLst>
      <p:ext uri="{BB962C8B-B14F-4D97-AF65-F5344CB8AC3E}">
        <p14:creationId xmlns:p14="http://schemas.microsoft.com/office/powerpoint/2010/main" val="2337115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A3254CC-B2A7-F7EA-CC6F-F805C100A717}"/>
              </a:ext>
            </a:extLst>
          </p:cNvPr>
          <p:cNvSpPr>
            <a:spLocks noGrp="1"/>
          </p:cNvSpPr>
          <p:nvPr>
            <p:ph type="subTitle" idx="1" hasCustomPrompt="1"/>
          </p:nvPr>
        </p:nvSpPr>
        <p:spPr>
          <a:xfrm>
            <a:off x="3954461" y="3314700"/>
            <a:ext cx="7666038" cy="1600199"/>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Use this layout if you don’t have a photo for the cover</a:t>
            </a:r>
          </a:p>
        </p:txBody>
      </p:sp>
      <p:sp>
        <p:nvSpPr>
          <p:cNvPr id="14" name="Title 13">
            <a:extLst>
              <a:ext uri="{FF2B5EF4-FFF2-40B4-BE49-F238E27FC236}">
                <a16:creationId xmlns:a16="http://schemas.microsoft.com/office/drawing/2014/main" id="{B9871985-4E89-3092-A1BF-2B88F96147DE}"/>
              </a:ext>
            </a:extLst>
          </p:cNvPr>
          <p:cNvSpPr>
            <a:spLocks noGrp="1"/>
          </p:cNvSpPr>
          <p:nvPr>
            <p:ph type="title" hasCustomPrompt="1"/>
          </p:nvPr>
        </p:nvSpPr>
        <p:spPr>
          <a:xfrm>
            <a:off x="3954462" y="1970294"/>
            <a:ext cx="7666037" cy="1344406"/>
          </a:xfrm>
        </p:spPr>
        <p:txBody>
          <a:bodyPr anchor="b">
            <a:noAutofit/>
          </a:bodyPr>
          <a:lstStyle>
            <a:lvl1pPr>
              <a:defRPr sz="3600"/>
            </a:lvl1pPr>
          </a:lstStyle>
          <a:p>
            <a:r>
              <a:rPr lang="en-US"/>
              <a:t>Cover slide option 3: click to edit title</a:t>
            </a:r>
          </a:p>
        </p:txBody>
      </p:sp>
      <p:sp>
        <p:nvSpPr>
          <p:cNvPr id="15" name="Date Placeholder 14">
            <a:extLst>
              <a:ext uri="{FF2B5EF4-FFF2-40B4-BE49-F238E27FC236}">
                <a16:creationId xmlns:a16="http://schemas.microsoft.com/office/drawing/2014/main" id="{2DE5ED27-9E7C-AE4C-1694-3F0BCDE7ED8D}"/>
              </a:ext>
            </a:extLst>
          </p:cNvPr>
          <p:cNvSpPr>
            <a:spLocks noGrp="1"/>
          </p:cNvSpPr>
          <p:nvPr>
            <p:ph type="dt" sz="half" idx="10"/>
          </p:nvPr>
        </p:nvSpPr>
        <p:spPr/>
        <p:txBody>
          <a:bodyPr/>
          <a:lstStyle/>
          <a:p>
            <a:fld id="{27E2B781-165D-6948-B70C-AD2ADEBD07C5}" type="datetime1">
              <a:rPr lang="en-US" smtClean="0"/>
              <a:t>11/28/2023</a:t>
            </a:fld>
            <a:endParaRPr lang="en-US"/>
          </a:p>
        </p:txBody>
      </p:sp>
      <p:sp>
        <p:nvSpPr>
          <p:cNvPr id="16" name="Footer Placeholder 15">
            <a:extLst>
              <a:ext uri="{FF2B5EF4-FFF2-40B4-BE49-F238E27FC236}">
                <a16:creationId xmlns:a16="http://schemas.microsoft.com/office/drawing/2014/main" id="{14ADF4A6-927D-EE55-88B4-AAFD12B9A0CD}"/>
              </a:ext>
            </a:extLst>
          </p:cNvPr>
          <p:cNvSpPr>
            <a:spLocks noGrp="1"/>
          </p:cNvSpPr>
          <p:nvPr>
            <p:ph type="ftr" sz="quarter" idx="11"/>
          </p:nvPr>
        </p:nvSpPr>
        <p:spPr/>
        <p:txBody>
          <a:bodyPr/>
          <a:lstStyle/>
          <a:p>
            <a:r>
              <a:rPr lang="en-US"/>
              <a:t>How to use this template</a:t>
            </a:r>
          </a:p>
        </p:txBody>
      </p:sp>
      <p:sp>
        <p:nvSpPr>
          <p:cNvPr id="17" name="Slide Number Placeholder 16">
            <a:extLst>
              <a:ext uri="{FF2B5EF4-FFF2-40B4-BE49-F238E27FC236}">
                <a16:creationId xmlns:a16="http://schemas.microsoft.com/office/drawing/2014/main" id="{3F9BFC5A-2FA6-7C20-CB42-993C8921C8CB}"/>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2" name="Rectangle 1">
            <a:extLst>
              <a:ext uri="{FF2B5EF4-FFF2-40B4-BE49-F238E27FC236}">
                <a16:creationId xmlns:a16="http://schemas.microsoft.com/office/drawing/2014/main" id="{93719E2B-0643-E389-3AF7-D8F3B9C73A61}"/>
              </a:ext>
            </a:extLst>
          </p:cNvPr>
          <p:cNvSpPr/>
          <p:nvPr userDrawn="1"/>
        </p:nvSpPr>
        <p:spPr>
          <a:xfrm>
            <a:off x="571500" y="0"/>
            <a:ext cx="11049000" cy="1714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E703E258-FB1E-4F94-0259-93E35CB33A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72182" y="547140"/>
            <a:ext cx="1965119" cy="620220"/>
          </a:xfrm>
          <a:prstGeom prst="rect">
            <a:avLst/>
          </a:prstGeom>
        </p:spPr>
      </p:pic>
    </p:spTree>
    <p:extLst>
      <p:ext uri="{BB962C8B-B14F-4D97-AF65-F5344CB8AC3E}">
        <p14:creationId xmlns:p14="http://schemas.microsoft.com/office/powerpoint/2010/main" val="4060564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Option 4 Emblem">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A3254CC-B2A7-F7EA-CC6F-F805C100A717}"/>
              </a:ext>
            </a:extLst>
          </p:cNvPr>
          <p:cNvSpPr>
            <a:spLocks noGrp="1"/>
          </p:cNvSpPr>
          <p:nvPr>
            <p:ph type="subTitle" idx="1" hasCustomPrompt="1"/>
          </p:nvPr>
        </p:nvSpPr>
        <p:spPr>
          <a:xfrm>
            <a:off x="3954461" y="4752022"/>
            <a:ext cx="7666038" cy="962977"/>
          </a:xfrm>
        </p:spPr>
        <p:txBody>
          <a:bodyPr>
            <a:no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4" name="Freeform 3">
            <a:extLst>
              <a:ext uri="{FF2B5EF4-FFF2-40B4-BE49-F238E27FC236}">
                <a16:creationId xmlns:a16="http://schemas.microsoft.com/office/drawing/2014/main" id="{70BC4E9E-145D-ACAE-63D3-3E0DC6620CE9}"/>
              </a:ext>
            </a:extLst>
          </p:cNvPr>
          <p:cNvSpPr/>
          <p:nvPr/>
        </p:nvSpPr>
        <p:spPr>
          <a:xfrm>
            <a:off x="571500" y="5943600"/>
            <a:ext cx="736968" cy="614713"/>
          </a:xfrm>
          <a:custGeom>
            <a:avLst/>
            <a:gdLst>
              <a:gd name="connsiteX0" fmla="*/ 586884 w 736968"/>
              <a:gd name="connsiteY0" fmla="*/ 559057 h 614713"/>
              <a:gd name="connsiteX1" fmla="*/ 587869 w 736968"/>
              <a:gd name="connsiteY1" fmla="*/ 559556 h 614713"/>
              <a:gd name="connsiteX2" fmla="*/ 540711 w 736968"/>
              <a:gd name="connsiteY2" fmla="*/ 587411 h 614713"/>
              <a:gd name="connsiteX3" fmla="*/ 503480 w 736968"/>
              <a:gd name="connsiteY3" fmla="*/ 590061 h 614713"/>
              <a:gd name="connsiteX4" fmla="*/ 450805 w 736968"/>
              <a:gd name="connsiteY4" fmla="*/ 569540 h 614713"/>
              <a:gd name="connsiteX5" fmla="*/ 422114 w 736968"/>
              <a:gd name="connsiteY5" fmla="*/ 550259 h 614713"/>
              <a:gd name="connsiteX6" fmla="*/ 386381 w 736968"/>
              <a:gd name="connsiteY6" fmla="*/ 543521 h 614713"/>
              <a:gd name="connsiteX7" fmla="*/ 385772 w 736968"/>
              <a:gd name="connsiteY7" fmla="*/ 548099 h 614713"/>
              <a:gd name="connsiteX8" fmla="*/ 433943 w 736968"/>
              <a:gd name="connsiteY8" fmla="*/ 578037 h 614713"/>
              <a:gd name="connsiteX9" fmla="*/ 462359 w 736968"/>
              <a:gd name="connsiteY9" fmla="*/ 603058 h 614713"/>
              <a:gd name="connsiteX10" fmla="*/ 448738 w 736968"/>
              <a:gd name="connsiteY10" fmla="*/ 614714 h 614713"/>
              <a:gd name="connsiteX11" fmla="*/ 433814 w 736968"/>
              <a:gd name="connsiteY11" fmla="*/ 598553 h 614713"/>
              <a:gd name="connsiteX12" fmla="*/ 371602 w 736968"/>
              <a:gd name="connsiteY12" fmla="*/ 550414 h 614713"/>
              <a:gd name="connsiteX13" fmla="*/ 368540 w 736968"/>
              <a:gd name="connsiteY13" fmla="*/ 549256 h 614713"/>
              <a:gd name="connsiteX14" fmla="*/ 365479 w 736968"/>
              <a:gd name="connsiteY14" fmla="*/ 550414 h 614713"/>
              <a:gd name="connsiteX15" fmla="*/ 303259 w 736968"/>
              <a:gd name="connsiteY15" fmla="*/ 598553 h 614713"/>
              <a:gd name="connsiteX16" fmla="*/ 288343 w 736968"/>
              <a:gd name="connsiteY16" fmla="*/ 614714 h 614713"/>
              <a:gd name="connsiteX17" fmla="*/ 274713 w 736968"/>
              <a:gd name="connsiteY17" fmla="*/ 603058 h 614713"/>
              <a:gd name="connsiteX18" fmla="*/ 303139 w 736968"/>
              <a:gd name="connsiteY18" fmla="*/ 578037 h 614713"/>
              <a:gd name="connsiteX19" fmla="*/ 351309 w 736968"/>
              <a:gd name="connsiteY19" fmla="*/ 548099 h 614713"/>
              <a:gd name="connsiteX20" fmla="*/ 350700 w 736968"/>
              <a:gd name="connsiteY20" fmla="*/ 543521 h 614713"/>
              <a:gd name="connsiteX21" fmla="*/ 314967 w 736968"/>
              <a:gd name="connsiteY21" fmla="*/ 550259 h 614713"/>
              <a:gd name="connsiteX22" fmla="*/ 286267 w 736968"/>
              <a:gd name="connsiteY22" fmla="*/ 569540 h 614713"/>
              <a:gd name="connsiteX23" fmla="*/ 233594 w 736968"/>
              <a:gd name="connsiteY23" fmla="*/ 590061 h 614713"/>
              <a:gd name="connsiteX24" fmla="*/ 196368 w 736968"/>
              <a:gd name="connsiteY24" fmla="*/ 587411 h 614713"/>
              <a:gd name="connsiteX25" fmla="*/ 149168 w 736968"/>
              <a:gd name="connsiteY25" fmla="*/ 559498 h 614713"/>
              <a:gd name="connsiteX26" fmla="*/ 150197 w 736968"/>
              <a:gd name="connsiteY26" fmla="*/ 559057 h 614713"/>
              <a:gd name="connsiteX27" fmla="*/ 153148 w 736968"/>
              <a:gd name="connsiteY27" fmla="*/ 560500 h 614713"/>
              <a:gd name="connsiteX28" fmla="*/ 215727 w 736968"/>
              <a:gd name="connsiteY28" fmla="*/ 567791 h 614713"/>
              <a:gd name="connsiteX29" fmla="*/ 257919 w 736968"/>
              <a:gd name="connsiteY29" fmla="*/ 553190 h 614713"/>
              <a:gd name="connsiteX30" fmla="*/ 287605 w 736968"/>
              <a:gd name="connsiteY30" fmla="*/ 541036 h 614713"/>
              <a:gd name="connsiteX31" fmla="*/ 367185 w 736968"/>
              <a:gd name="connsiteY31" fmla="*/ 539248 h 614713"/>
              <a:gd name="connsiteX32" fmla="*/ 368541 w 736968"/>
              <a:gd name="connsiteY32" fmla="*/ 539485 h 614713"/>
              <a:gd name="connsiteX33" fmla="*/ 369896 w 736968"/>
              <a:gd name="connsiteY33" fmla="*/ 539248 h 614713"/>
              <a:gd name="connsiteX34" fmla="*/ 449476 w 736968"/>
              <a:gd name="connsiteY34" fmla="*/ 541036 h 614713"/>
              <a:gd name="connsiteX35" fmla="*/ 479162 w 736968"/>
              <a:gd name="connsiteY35" fmla="*/ 553190 h 614713"/>
              <a:gd name="connsiteX36" fmla="*/ 521354 w 736968"/>
              <a:gd name="connsiteY36" fmla="*/ 567791 h 614713"/>
              <a:gd name="connsiteX37" fmla="*/ 583936 w 736968"/>
              <a:gd name="connsiteY37" fmla="*/ 560500 h 614713"/>
              <a:gd name="connsiteX38" fmla="*/ 586884 w 736968"/>
              <a:gd name="connsiteY38" fmla="*/ 559057 h 614713"/>
              <a:gd name="connsiteX39" fmla="*/ 649912 w 736968"/>
              <a:gd name="connsiteY39" fmla="*/ 501893 h 614713"/>
              <a:gd name="connsiteX40" fmla="*/ 621647 w 736968"/>
              <a:gd name="connsiteY40" fmla="*/ 516814 h 614713"/>
              <a:gd name="connsiteX41" fmla="*/ 577167 w 736968"/>
              <a:gd name="connsiteY41" fmla="*/ 523465 h 614713"/>
              <a:gd name="connsiteX42" fmla="*/ 519133 w 736968"/>
              <a:gd name="connsiteY42" fmla="*/ 528484 h 614713"/>
              <a:gd name="connsiteX43" fmla="*/ 518822 w 736968"/>
              <a:gd name="connsiteY43" fmla="*/ 528537 h 614713"/>
              <a:gd name="connsiteX44" fmla="*/ 517440 w 736968"/>
              <a:gd name="connsiteY44" fmla="*/ 527801 h 614713"/>
              <a:gd name="connsiteX45" fmla="*/ 517731 w 736968"/>
              <a:gd name="connsiteY45" fmla="*/ 527602 h 614713"/>
              <a:gd name="connsiteX46" fmla="*/ 555603 w 736968"/>
              <a:gd name="connsiteY46" fmla="*/ 491071 h 614713"/>
              <a:gd name="connsiteX47" fmla="*/ 574543 w 736968"/>
              <a:gd name="connsiteY47" fmla="*/ 452957 h 614713"/>
              <a:gd name="connsiteX48" fmla="*/ 574354 w 736968"/>
              <a:gd name="connsiteY48" fmla="*/ 451980 h 614713"/>
              <a:gd name="connsiteX49" fmla="*/ 545381 w 736968"/>
              <a:gd name="connsiteY49" fmla="*/ 476599 h 614713"/>
              <a:gd name="connsiteX50" fmla="*/ 513857 w 736968"/>
              <a:gd name="connsiteY50" fmla="*/ 507120 h 614713"/>
              <a:gd name="connsiteX51" fmla="*/ 464298 w 736968"/>
              <a:gd name="connsiteY51" fmla="*/ 532384 h 614713"/>
              <a:gd name="connsiteX52" fmla="*/ 463611 w 736968"/>
              <a:gd name="connsiteY52" fmla="*/ 532694 h 614713"/>
              <a:gd name="connsiteX53" fmla="*/ 463174 w 736968"/>
              <a:gd name="connsiteY53" fmla="*/ 533478 h 614713"/>
              <a:gd name="connsiteX54" fmla="*/ 463242 w 736968"/>
              <a:gd name="connsiteY54" fmla="*/ 533590 h 614713"/>
              <a:gd name="connsiteX55" fmla="*/ 463637 w 736968"/>
              <a:gd name="connsiteY55" fmla="*/ 533687 h 614713"/>
              <a:gd name="connsiteX56" fmla="*/ 499979 w 736968"/>
              <a:gd name="connsiteY56" fmla="*/ 542145 h 614713"/>
              <a:gd name="connsiteX57" fmla="*/ 546836 w 736968"/>
              <a:gd name="connsiteY57" fmla="*/ 550860 h 614713"/>
              <a:gd name="connsiteX58" fmla="*/ 597470 w 736968"/>
              <a:gd name="connsiteY58" fmla="*/ 544267 h 614713"/>
              <a:gd name="connsiteX59" fmla="*/ 651188 w 736968"/>
              <a:gd name="connsiteY59" fmla="*/ 502082 h 614713"/>
              <a:gd name="connsiteX60" fmla="*/ 651222 w 736968"/>
              <a:gd name="connsiteY60" fmla="*/ 501927 h 614713"/>
              <a:gd name="connsiteX61" fmla="*/ 649912 w 736968"/>
              <a:gd name="connsiteY61" fmla="*/ 501893 h 614713"/>
              <a:gd name="connsiteX62" fmla="*/ 708819 w 736968"/>
              <a:gd name="connsiteY62" fmla="*/ 411663 h 614713"/>
              <a:gd name="connsiteX63" fmla="*/ 675040 w 736968"/>
              <a:gd name="connsiteY63" fmla="*/ 441106 h 614713"/>
              <a:gd name="connsiteX64" fmla="*/ 640345 w 736968"/>
              <a:gd name="connsiteY64" fmla="*/ 460001 h 614713"/>
              <a:gd name="connsiteX65" fmla="*/ 597736 w 736968"/>
              <a:gd name="connsiteY65" fmla="*/ 485005 h 614713"/>
              <a:gd name="connsiteX66" fmla="*/ 595273 w 736968"/>
              <a:gd name="connsiteY66" fmla="*/ 486900 h 614713"/>
              <a:gd name="connsiteX67" fmla="*/ 594851 w 736968"/>
              <a:gd name="connsiteY67" fmla="*/ 486061 h 614713"/>
              <a:gd name="connsiteX68" fmla="*/ 621075 w 736968"/>
              <a:gd name="connsiteY68" fmla="*/ 422571 h 614713"/>
              <a:gd name="connsiteX69" fmla="*/ 628252 w 736968"/>
              <a:gd name="connsiteY69" fmla="*/ 377293 h 614713"/>
              <a:gd name="connsiteX70" fmla="*/ 627951 w 736968"/>
              <a:gd name="connsiteY70" fmla="*/ 376127 h 614713"/>
              <a:gd name="connsiteX71" fmla="*/ 627772 w 736968"/>
              <a:gd name="connsiteY71" fmla="*/ 376213 h 614713"/>
              <a:gd name="connsiteX72" fmla="*/ 595695 w 736968"/>
              <a:gd name="connsiteY72" fmla="*/ 434440 h 614713"/>
              <a:gd name="connsiteX73" fmla="*/ 583824 w 736968"/>
              <a:gd name="connsiteY73" fmla="*/ 468535 h 614713"/>
              <a:gd name="connsiteX74" fmla="*/ 559147 w 736968"/>
              <a:gd name="connsiteY74" fmla="*/ 509968 h 614713"/>
              <a:gd name="connsiteX75" fmla="*/ 558081 w 736968"/>
              <a:gd name="connsiteY75" fmla="*/ 511083 h 614713"/>
              <a:gd name="connsiteX76" fmla="*/ 557887 w 736968"/>
              <a:gd name="connsiteY76" fmla="*/ 511785 h 614713"/>
              <a:gd name="connsiteX77" fmla="*/ 557979 w 736968"/>
              <a:gd name="connsiteY77" fmla="*/ 511901 h 614713"/>
              <a:gd name="connsiteX78" fmla="*/ 561863 w 736968"/>
              <a:gd name="connsiteY78" fmla="*/ 511218 h 614713"/>
              <a:gd name="connsiteX79" fmla="*/ 601334 w 736968"/>
              <a:gd name="connsiteY79" fmla="*/ 503152 h 614713"/>
              <a:gd name="connsiteX80" fmla="*/ 660605 w 736968"/>
              <a:gd name="connsiteY80" fmla="*/ 477953 h 614713"/>
              <a:gd name="connsiteX81" fmla="*/ 703485 w 736968"/>
              <a:gd name="connsiteY81" fmla="*/ 427832 h 614713"/>
              <a:gd name="connsiteX82" fmla="*/ 710046 w 736968"/>
              <a:gd name="connsiteY82" fmla="*/ 411501 h 614713"/>
              <a:gd name="connsiteX83" fmla="*/ 708819 w 736968"/>
              <a:gd name="connsiteY83" fmla="*/ 411663 h 614713"/>
              <a:gd name="connsiteX84" fmla="*/ 734621 w 736968"/>
              <a:gd name="connsiteY84" fmla="*/ 310240 h 614713"/>
              <a:gd name="connsiteX85" fmla="*/ 703698 w 736968"/>
              <a:gd name="connsiteY85" fmla="*/ 358724 h 614713"/>
              <a:gd name="connsiteX86" fmla="*/ 658917 w 736968"/>
              <a:gd name="connsiteY86" fmla="*/ 409606 h 614713"/>
              <a:gd name="connsiteX87" fmla="*/ 658137 w 736968"/>
              <a:gd name="connsiteY87" fmla="*/ 409050 h 614713"/>
              <a:gd name="connsiteX88" fmla="*/ 662297 w 736968"/>
              <a:gd name="connsiteY88" fmla="*/ 351834 h 614713"/>
              <a:gd name="connsiteX89" fmla="*/ 650887 w 736968"/>
              <a:gd name="connsiteY89" fmla="*/ 298261 h 614713"/>
              <a:gd name="connsiteX90" fmla="*/ 650863 w 736968"/>
              <a:gd name="connsiteY90" fmla="*/ 298055 h 614713"/>
              <a:gd name="connsiteX91" fmla="*/ 650029 w 736968"/>
              <a:gd name="connsiteY91" fmla="*/ 297173 h 614713"/>
              <a:gd name="connsiteX92" fmla="*/ 649360 w 736968"/>
              <a:gd name="connsiteY92" fmla="*/ 299049 h 614713"/>
              <a:gd name="connsiteX93" fmla="*/ 641014 w 736968"/>
              <a:gd name="connsiteY93" fmla="*/ 338304 h 614713"/>
              <a:gd name="connsiteX94" fmla="*/ 641873 w 736968"/>
              <a:gd name="connsiteY94" fmla="*/ 391766 h 614713"/>
              <a:gd name="connsiteX95" fmla="*/ 630216 w 736968"/>
              <a:gd name="connsiteY95" fmla="*/ 447310 h 614713"/>
              <a:gd name="connsiteX96" fmla="*/ 630114 w 736968"/>
              <a:gd name="connsiteY96" fmla="*/ 447593 h 614713"/>
              <a:gd name="connsiteX97" fmla="*/ 630424 w 736968"/>
              <a:gd name="connsiteY97" fmla="*/ 448913 h 614713"/>
              <a:gd name="connsiteX98" fmla="*/ 630536 w 736968"/>
              <a:gd name="connsiteY98" fmla="*/ 448870 h 614713"/>
              <a:gd name="connsiteX99" fmla="*/ 670967 w 736968"/>
              <a:gd name="connsiteY99" fmla="*/ 423677 h 614713"/>
              <a:gd name="connsiteX100" fmla="*/ 713615 w 736968"/>
              <a:gd name="connsiteY100" fmla="*/ 382991 h 614713"/>
              <a:gd name="connsiteX101" fmla="*/ 735795 w 736968"/>
              <a:gd name="connsiteY101" fmla="*/ 312194 h 614713"/>
              <a:gd name="connsiteX102" fmla="*/ 735625 w 736968"/>
              <a:gd name="connsiteY102" fmla="*/ 309641 h 614713"/>
              <a:gd name="connsiteX103" fmla="*/ 734621 w 736968"/>
              <a:gd name="connsiteY103" fmla="*/ 310240 h 614713"/>
              <a:gd name="connsiteX104" fmla="*/ 691954 w 736968"/>
              <a:gd name="connsiteY104" fmla="*/ 321158 h 614713"/>
              <a:gd name="connsiteX105" fmla="*/ 691619 w 736968"/>
              <a:gd name="connsiteY105" fmla="*/ 321526 h 614713"/>
              <a:gd name="connsiteX106" fmla="*/ 691023 w 736968"/>
              <a:gd name="connsiteY106" fmla="*/ 321037 h 614713"/>
              <a:gd name="connsiteX107" fmla="*/ 691358 w 736968"/>
              <a:gd name="connsiteY107" fmla="*/ 304773 h 614713"/>
              <a:gd name="connsiteX108" fmla="*/ 668499 w 736968"/>
              <a:gd name="connsiteY108" fmla="*/ 254370 h 614713"/>
              <a:gd name="connsiteX109" fmla="*/ 650329 w 736968"/>
              <a:gd name="connsiteY109" fmla="*/ 222083 h 614713"/>
              <a:gd name="connsiteX110" fmla="*/ 649301 w 736968"/>
              <a:gd name="connsiteY110" fmla="*/ 221620 h 614713"/>
              <a:gd name="connsiteX111" fmla="*/ 649927 w 736968"/>
              <a:gd name="connsiteY111" fmla="*/ 232502 h 614713"/>
              <a:gd name="connsiteX112" fmla="*/ 670332 w 736968"/>
              <a:gd name="connsiteY112" fmla="*/ 311920 h 614713"/>
              <a:gd name="connsiteX113" fmla="*/ 677470 w 736968"/>
              <a:gd name="connsiteY113" fmla="*/ 362134 h 614713"/>
              <a:gd name="connsiteX114" fmla="*/ 677853 w 736968"/>
              <a:gd name="connsiteY114" fmla="*/ 364277 h 614713"/>
              <a:gd name="connsiteX115" fmla="*/ 677930 w 736968"/>
              <a:gd name="connsiteY115" fmla="*/ 364260 h 614713"/>
              <a:gd name="connsiteX116" fmla="*/ 703296 w 736968"/>
              <a:gd name="connsiteY116" fmla="*/ 334140 h 614713"/>
              <a:gd name="connsiteX117" fmla="*/ 731566 w 736968"/>
              <a:gd name="connsiteY117" fmla="*/ 215331 h 614713"/>
              <a:gd name="connsiteX118" fmla="*/ 728463 w 736968"/>
              <a:gd name="connsiteY118" fmla="*/ 207464 h 614713"/>
              <a:gd name="connsiteX119" fmla="*/ 727561 w 736968"/>
              <a:gd name="connsiteY119" fmla="*/ 208467 h 614713"/>
              <a:gd name="connsiteX120" fmla="*/ 696313 w 736968"/>
              <a:gd name="connsiteY120" fmla="*/ 305065 h 614713"/>
              <a:gd name="connsiteX121" fmla="*/ 691954 w 736968"/>
              <a:gd name="connsiteY121" fmla="*/ 321158 h 614713"/>
              <a:gd name="connsiteX122" fmla="*/ 657467 w 736968"/>
              <a:gd name="connsiteY122" fmla="*/ 179092 h 614713"/>
              <a:gd name="connsiteX123" fmla="*/ 633091 w 736968"/>
              <a:gd name="connsiteY123" fmla="*/ 151962 h 614713"/>
              <a:gd name="connsiteX124" fmla="*/ 632946 w 736968"/>
              <a:gd name="connsiteY124" fmla="*/ 151782 h 614713"/>
              <a:gd name="connsiteX125" fmla="*/ 632669 w 736968"/>
              <a:gd name="connsiteY125" fmla="*/ 151568 h 614713"/>
              <a:gd name="connsiteX126" fmla="*/ 631631 w 736968"/>
              <a:gd name="connsiteY126" fmla="*/ 151363 h 614713"/>
              <a:gd name="connsiteX127" fmla="*/ 631117 w 736968"/>
              <a:gd name="connsiteY127" fmla="*/ 151397 h 614713"/>
              <a:gd name="connsiteX128" fmla="*/ 641873 w 736968"/>
              <a:gd name="connsiteY128" fmla="*/ 182854 h 614713"/>
              <a:gd name="connsiteX129" fmla="*/ 666026 w 736968"/>
              <a:gd name="connsiteY129" fmla="*/ 219443 h 614713"/>
              <a:gd name="connsiteX130" fmla="*/ 667941 w 736968"/>
              <a:gd name="connsiteY130" fmla="*/ 221989 h 614713"/>
              <a:gd name="connsiteX131" fmla="*/ 694437 w 736968"/>
              <a:gd name="connsiteY131" fmla="*/ 272340 h 614713"/>
              <a:gd name="connsiteX132" fmla="*/ 695353 w 736968"/>
              <a:gd name="connsiteY132" fmla="*/ 272897 h 614713"/>
              <a:gd name="connsiteX133" fmla="*/ 706589 w 736968"/>
              <a:gd name="connsiteY133" fmla="*/ 237969 h 614713"/>
              <a:gd name="connsiteX134" fmla="*/ 716529 w 736968"/>
              <a:gd name="connsiteY134" fmla="*/ 200335 h 614713"/>
              <a:gd name="connsiteX135" fmla="*/ 693336 w 736968"/>
              <a:gd name="connsiteY135" fmla="*/ 109931 h 614713"/>
              <a:gd name="connsiteX136" fmla="*/ 692846 w 736968"/>
              <a:gd name="connsiteY136" fmla="*/ 110986 h 614713"/>
              <a:gd name="connsiteX137" fmla="*/ 693695 w 736968"/>
              <a:gd name="connsiteY137" fmla="*/ 113762 h 614713"/>
              <a:gd name="connsiteX138" fmla="*/ 694762 w 736968"/>
              <a:gd name="connsiteY138" fmla="*/ 117738 h 614713"/>
              <a:gd name="connsiteX139" fmla="*/ 695557 w 736968"/>
              <a:gd name="connsiteY139" fmla="*/ 167807 h 614713"/>
              <a:gd name="connsiteX140" fmla="*/ 691876 w 736968"/>
              <a:gd name="connsiteY140" fmla="*/ 207627 h 614713"/>
              <a:gd name="connsiteX141" fmla="*/ 693157 w 736968"/>
              <a:gd name="connsiteY141" fmla="*/ 226975 h 614713"/>
              <a:gd name="connsiteX142" fmla="*/ 692177 w 736968"/>
              <a:gd name="connsiteY142" fmla="*/ 226761 h 614713"/>
              <a:gd name="connsiteX143" fmla="*/ 687871 w 736968"/>
              <a:gd name="connsiteY143" fmla="*/ 215605 h 614713"/>
              <a:gd name="connsiteX144" fmla="*/ 685325 w 736968"/>
              <a:gd name="connsiteY144" fmla="*/ 209863 h 614713"/>
              <a:gd name="connsiteX145" fmla="*/ 657467 w 736968"/>
              <a:gd name="connsiteY145" fmla="*/ 179092 h 614713"/>
              <a:gd name="connsiteX146" fmla="*/ 638090 w 736968"/>
              <a:gd name="connsiteY146" fmla="*/ 57360 h 614713"/>
              <a:gd name="connsiteX147" fmla="*/ 651173 w 736968"/>
              <a:gd name="connsiteY147" fmla="*/ 76187 h 614713"/>
              <a:gd name="connsiteX148" fmla="*/ 660571 w 736968"/>
              <a:gd name="connsiteY148" fmla="*/ 117524 h 614713"/>
              <a:gd name="connsiteX149" fmla="*/ 666414 w 736968"/>
              <a:gd name="connsiteY149" fmla="*/ 139820 h 614713"/>
              <a:gd name="connsiteX150" fmla="*/ 665434 w 736968"/>
              <a:gd name="connsiteY150" fmla="*/ 140214 h 614713"/>
              <a:gd name="connsiteX151" fmla="*/ 665221 w 736968"/>
              <a:gd name="connsiteY151" fmla="*/ 139923 h 614713"/>
              <a:gd name="connsiteX152" fmla="*/ 628911 w 736968"/>
              <a:gd name="connsiteY152" fmla="*/ 109914 h 614713"/>
              <a:gd name="connsiteX153" fmla="*/ 605267 w 736968"/>
              <a:gd name="connsiteY153" fmla="*/ 88698 h 614713"/>
              <a:gd name="connsiteX154" fmla="*/ 601635 w 736968"/>
              <a:gd name="connsiteY154" fmla="*/ 83950 h 614713"/>
              <a:gd name="connsiteX155" fmla="*/ 600583 w 736968"/>
              <a:gd name="connsiteY155" fmla="*/ 83650 h 614713"/>
              <a:gd name="connsiteX156" fmla="*/ 600854 w 736968"/>
              <a:gd name="connsiteY156" fmla="*/ 85630 h 614713"/>
              <a:gd name="connsiteX157" fmla="*/ 621657 w 736968"/>
              <a:gd name="connsiteY157" fmla="*/ 126315 h 614713"/>
              <a:gd name="connsiteX158" fmla="*/ 648836 w 736968"/>
              <a:gd name="connsiteY158" fmla="*/ 149169 h 614713"/>
              <a:gd name="connsiteX159" fmla="*/ 680685 w 736968"/>
              <a:gd name="connsiteY159" fmla="*/ 182203 h 614713"/>
              <a:gd name="connsiteX160" fmla="*/ 680859 w 736968"/>
              <a:gd name="connsiteY160" fmla="*/ 182391 h 614713"/>
              <a:gd name="connsiteX161" fmla="*/ 681567 w 736968"/>
              <a:gd name="connsiteY161" fmla="*/ 182597 h 614713"/>
              <a:gd name="connsiteX162" fmla="*/ 681553 w 736968"/>
              <a:gd name="connsiteY162" fmla="*/ 182399 h 614713"/>
              <a:gd name="connsiteX163" fmla="*/ 681567 w 736968"/>
              <a:gd name="connsiteY163" fmla="*/ 182382 h 614713"/>
              <a:gd name="connsiteX164" fmla="*/ 681262 w 736968"/>
              <a:gd name="connsiteY164" fmla="*/ 171783 h 614713"/>
              <a:gd name="connsiteX165" fmla="*/ 682154 w 736968"/>
              <a:gd name="connsiteY165" fmla="*/ 139452 h 614713"/>
              <a:gd name="connsiteX166" fmla="*/ 682435 w 736968"/>
              <a:gd name="connsiteY166" fmla="*/ 128347 h 614713"/>
              <a:gd name="connsiteX167" fmla="*/ 676534 w 736968"/>
              <a:gd name="connsiteY167" fmla="*/ 95964 h 614713"/>
              <a:gd name="connsiteX168" fmla="*/ 641014 w 736968"/>
              <a:gd name="connsiteY168" fmla="*/ 57198 h 614713"/>
              <a:gd name="connsiteX169" fmla="*/ 637887 w 736968"/>
              <a:gd name="connsiteY169" fmla="*/ 56006 h 614713"/>
              <a:gd name="connsiteX170" fmla="*/ 637969 w 736968"/>
              <a:gd name="connsiteY170" fmla="*/ 57206 h 614713"/>
              <a:gd name="connsiteX171" fmla="*/ 638090 w 736968"/>
              <a:gd name="connsiteY171" fmla="*/ 57360 h 614713"/>
              <a:gd name="connsiteX172" fmla="*/ 568632 w 736968"/>
              <a:gd name="connsiteY172" fmla="*/ 25321 h 614713"/>
              <a:gd name="connsiteX173" fmla="*/ 593421 w 736968"/>
              <a:gd name="connsiteY173" fmla="*/ 54833 h 614713"/>
              <a:gd name="connsiteX174" fmla="*/ 616827 w 736968"/>
              <a:gd name="connsiteY174" fmla="*/ 83702 h 614713"/>
              <a:gd name="connsiteX175" fmla="*/ 645956 w 736968"/>
              <a:gd name="connsiteY175" fmla="*/ 107764 h 614713"/>
              <a:gd name="connsiteX176" fmla="*/ 646154 w 736968"/>
              <a:gd name="connsiteY176" fmla="*/ 107918 h 614713"/>
              <a:gd name="connsiteX177" fmla="*/ 646538 w 736968"/>
              <a:gd name="connsiteY177" fmla="*/ 107892 h 614713"/>
              <a:gd name="connsiteX178" fmla="*/ 646504 w 736968"/>
              <a:gd name="connsiteY178" fmla="*/ 107686 h 614713"/>
              <a:gd name="connsiteX179" fmla="*/ 613181 w 736968"/>
              <a:gd name="connsiteY179" fmla="*/ 44936 h 614713"/>
              <a:gd name="connsiteX180" fmla="*/ 566314 w 736968"/>
              <a:gd name="connsiteY180" fmla="*/ 22288 h 614713"/>
              <a:gd name="connsiteX181" fmla="*/ 566436 w 736968"/>
              <a:gd name="connsiteY181" fmla="*/ 23419 h 614713"/>
              <a:gd name="connsiteX182" fmla="*/ 568632 w 736968"/>
              <a:gd name="connsiteY182" fmla="*/ 25321 h 614713"/>
              <a:gd name="connsiteX183" fmla="*/ 190133 w 736968"/>
              <a:gd name="connsiteY183" fmla="*/ 550860 h 614713"/>
              <a:gd name="connsiteX184" fmla="*/ 236991 w 736968"/>
              <a:gd name="connsiteY184" fmla="*/ 542145 h 614713"/>
              <a:gd name="connsiteX185" fmla="*/ 273332 w 736968"/>
              <a:gd name="connsiteY185" fmla="*/ 533687 h 614713"/>
              <a:gd name="connsiteX186" fmla="*/ 273727 w 736968"/>
              <a:gd name="connsiteY186" fmla="*/ 533590 h 614713"/>
              <a:gd name="connsiteX187" fmla="*/ 273796 w 736968"/>
              <a:gd name="connsiteY187" fmla="*/ 533478 h 614713"/>
              <a:gd name="connsiteX188" fmla="*/ 273358 w 736968"/>
              <a:gd name="connsiteY188" fmla="*/ 532694 h 614713"/>
              <a:gd name="connsiteX189" fmla="*/ 272663 w 736968"/>
              <a:gd name="connsiteY189" fmla="*/ 532384 h 614713"/>
              <a:gd name="connsiteX190" fmla="*/ 223112 w 736968"/>
              <a:gd name="connsiteY190" fmla="*/ 507120 h 614713"/>
              <a:gd name="connsiteX191" fmla="*/ 191591 w 736968"/>
              <a:gd name="connsiteY191" fmla="*/ 476599 h 614713"/>
              <a:gd name="connsiteX192" fmla="*/ 162617 w 736968"/>
              <a:gd name="connsiteY192" fmla="*/ 451972 h 614713"/>
              <a:gd name="connsiteX193" fmla="*/ 162428 w 736968"/>
              <a:gd name="connsiteY193" fmla="*/ 452957 h 614713"/>
              <a:gd name="connsiteX194" fmla="*/ 181367 w 736968"/>
              <a:gd name="connsiteY194" fmla="*/ 491071 h 614713"/>
              <a:gd name="connsiteX195" fmla="*/ 219235 w 736968"/>
              <a:gd name="connsiteY195" fmla="*/ 527602 h 614713"/>
              <a:gd name="connsiteX196" fmla="*/ 219527 w 736968"/>
              <a:gd name="connsiteY196" fmla="*/ 527801 h 614713"/>
              <a:gd name="connsiteX197" fmla="*/ 218146 w 736968"/>
              <a:gd name="connsiteY197" fmla="*/ 528537 h 614713"/>
              <a:gd name="connsiteX198" fmla="*/ 217837 w 736968"/>
              <a:gd name="connsiteY198" fmla="*/ 528484 h 614713"/>
              <a:gd name="connsiteX199" fmla="*/ 159803 w 736968"/>
              <a:gd name="connsiteY199" fmla="*/ 523465 h 614713"/>
              <a:gd name="connsiteX200" fmla="*/ 115321 w 736968"/>
              <a:gd name="connsiteY200" fmla="*/ 516814 h 614713"/>
              <a:gd name="connsiteX201" fmla="*/ 87059 w 736968"/>
              <a:gd name="connsiteY201" fmla="*/ 501893 h 614713"/>
              <a:gd name="connsiteX202" fmla="*/ 85747 w 736968"/>
              <a:gd name="connsiteY202" fmla="*/ 501927 h 614713"/>
              <a:gd name="connsiteX203" fmla="*/ 85782 w 736968"/>
              <a:gd name="connsiteY203" fmla="*/ 502082 h 614713"/>
              <a:gd name="connsiteX204" fmla="*/ 139501 w 736968"/>
              <a:gd name="connsiteY204" fmla="*/ 544267 h 614713"/>
              <a:gd name="connsiteX205" fmla="*/ 190133 w 736968"/>
              <a:gd name="connsiteY205" fmla="*/ 550860 h 614713"/>
              <a:gd name="connsiteX206" fmla="*/ 175105 w 736968"/>
              <a:gd name="connsiteY206" fmla="*/ 511218 h 614713"/>
              <a:gd name="connsiteX207" fmla="*/ 178991 w 736968"/>
              <a:gd name="connsiteY207" fmla="*/ 511901 h 614713"/>
              <a:gd name="connsiteX208" fmla="*/ 179085 w 736968"/>
              <a:gd name="connsiteY208" fmla="*/ 511775 h 614713"/>
              <a:gd name="connsiteX209" fmla="*/ 178887 w 736968"/>
              <a:gd name="connsiteY209" fmla="*/ 511078 h 614713"/>
              <a:gd name="connsiteX210" fmla="*/ 177816 w 736968"/>
              <a:gd name="connsiteY210" fmla="*/ 509968 h 614713"/>
              <a:gd name="connsiteX211" fmla="*/ 153148 w 736968"/>
              <a:gd name="connsiteY211" fmla="*/ 468535 h 614713"/>
              <a:gd name="connsiteX212" fmla="*/ 141276 w 736968"/>
              <a:gd name="connsiteY212" fmla="*/ 434439 h 614713"/>
              <a:gd name="connsiteX213" fmla="*/ 109197 w 736968"/>
              <a:gd name="connsiteY213" fmla="*/ 376213 h 614713"/>
              <a:gd name="connsiteX214" fmla="*/ 109017 w 736968"/>
              <a:gd name="connsiteY214" fmla="*/ 376127 h 614713"/>
              <a:gd name="connsiteX215" fmla="*/ 108717 w 736968"/>
              <a:gd name="connsiteY215" fmla="*/ 377284 h 614713"/>
              <a:gd name="connsiteX216" fmla="*/ 115896 w 736968"/>
              <a:gd name="connsiteY216" fmla="*/ 422571 h 614713"/>
              <a:gd name="connsiteX217" fmla="*/ 142117 w 736968"/>
              <a:gd name="connsiteY217" fmla="*/ 486061 h 614713"/>
              <a:gd name="connsiteX218" fmla="*/ 141697 w 736968"/>
              <a:gd name="connsiteY218" fmla="*/ 486900 h 614713"/>
              <a:gd name="connsiteX219" fmla="*/ 139235 w 736968"/>
              <a:gd name="connsiteY219" fmla="*/ 485005 h 614713"/>
              <a:gd name="connsiteX220" fmla="*/ 96623 w 736968"/>
              <a:gd name="connsiteY220" fmla="*/ 460001 h 614713"/>
              <a:gd name="connsiteX221" fmla="*/ 61928 w 736968"/>
              <a:gd name="connsiteY221" fmla="*/ 441106 h 614713"/>
              <a:gd name="connsiteX222" fmla="*/ 28142 w 736968"/>
              <a:gd name="connsiteY222" fmla="*/ 411663 h 614713"/>
              <a:gd name="connsiteX223" fmla="*/ 26924 w 736968"/>
              <a:gd name="connsiteY223" fmla="*/ 411500 h 614713"/>
              <a:gd name="connsiteX224" fmla="*/ 33486 w 736968"/>
              <a:gd name="connsiteY224" fmla="*/ 427832 h 614713"/>
              <a:gd name="connsiteX225" fmla="*/ 76363 w 736968"/>
              <a:gd name="connsiteY225" fmla="*/ 477953 h 614713"/>
              <a:gd name="connsiteX226" fmla="*/ 135633 w 736968"/>
              <a:gd name="connsiteY226" fmla="*/ 503152 h 614713"/>
              <a:gd name="connsiteX227" fmla="*/ 175105 w 736968"/>
              <a:gd name="connsiteY227" fmla="*/ 511218 h 614713"/>
              <a:gd name="connsiteX228" fmla="*/ 66002 w 736968"/>
              <a:gd name="connsiteY228" fmla="*/ 423677 h 614713"/>
              <a:gd name="connsiteX229" fmla="*/ 106435 w 736968"/>
              <a:gd name="connsiteY229" fmla="*/ 448870 h 614713"/>
              <a:gd name="connsiteX230" fmla="*/ 106547 w 736968"/>
              <a:gd name="connsiteY230" fmla="*/ 448912 h 614713"/>
              <a:gd name="connsiteX231" fmla="*/ 106856 w 736968"/>
              <a:gd name="connsiteY231" fmla="*/ 447593 h 614713"/>
              <a:gd name="connsiteX232" fmla="*/ 106752 w 736968"/>
              <a:gd name="connsiteY232" fmla="*/ 447310 h 614713"/>
              <a:gd name="connsiteX233" fmla="*/ 95096 w 736968"/>
              <a:gd name="connsiteY233" fmla="*/ 391766 h 614713"/>
              <a:gd name="connsiteX234" fmla="*/ 95954 w 736968"/>
              <a:gd name="connsiteY234" fmla="*/ 338304 h 614713"/>
              <a:gd name="connsiteX235" fmla="*/ 87608 w 736968"/>
              <a:gd name="connsiteY235" fmla="*/ 299049 h 614713"/>
              <a:gd name="connsiteX236" fmla="*/ 86939 w 736968"/>
              <a:gd name="connsiteY236" fmla="*/ 297173 h 614713"/>
              <a:gd name="connsiteX237" fmla="*/ 86107 w 736968"/>
              <a:gd name="connsiteY237" fmla="*/ 298055 h 614713"/>
              <a:gd name="connsiteX238" fmla="*/ 86081 w 736968"/>
              <a:gd name="connsiteY238" fmla="*/ 298261 h 614713"/>
              <a:gd name="connsiteX239" fmla="*/ 74674 w 736968"/>
              <a:gd name="connsiteY239" fmla="*/ 351834 h 614713"/>
              <a:gd name="connsiteX240" fmla="*/ 78834 w 736968"/>
              <a:gd name="connsiteY240" fmla="*/ 409050 h 614713"/>
              <a:gd name="connsiteX241" fmla="*/ 78053 w 736968"/>
              <a:gd name="connsiteY241" fmla="*/ 409606 h 614713"/>
              <a:gd name="connsiteX242" fmla="*/ 33271 w 736968"/>
              <a:gd name="connsiteY242" fmla="*/ 358724 h 614713"/>
              <a:gd name="connsiteX243" fmla="*/ 2350 w 736968"/>
              <a:gd name="connsiteY243" fmla="*/ 310240 h 614713"/>
              <a:gd name="connsiteX244" fmla="*/ 1355 w 736968"/>
              <a:gd name="connsiteY244" fmla="*/ 309641 h 614713"/>
              <a:gd name="connsiteX245" fmla="*/ 1174 w 736968"/>
              <a:gd name="connsiteY245" fmla="*/ 312194 h 614713"/>
              <a:gd name="connsiteX246" fmla="*/ 23356 w 736968"/>
              <a:gd name="connsiteY246" fmla="*/ 382991 h 614713"/>
              <a:gd name="connsiteX247" fmla="*/ 66002 w 736968"/>
              <a:gd name="connsiteY247" fmla="*/ 423677 h 614713"/>
              <a:gd name="connsiteX248" fmla="*/ 59037 w 736968"/>
              <a:gd name="connsiteY248" fmla="*/ 364260 h 614713"/>
              <a:gd name="connsiteX249" fmla="*/ 59115 w 736968"/>
              <a:gd name="connsiteY249" fmla="*/ 364285 h 614713"/>
              <a:gd name="connsiteX250" fmla="*/ 59501 w 736968"/>
              <a:gd name="connsiteY250" fmla="*/ 362134 h 614713"/>
              <a:gd name="connsiteX251" fmla="*/ 66637 w 736968"/>
              <a:gd name="connsiteY251" fmla="*/ 311920 h 614713"/>
              <a:gd name="connsiteX252" fmla="*/ 87042 w 736968"/>
              <a:gd name="connsiteY252" fmla="*/ 232511 h 614713"/>
              <a:gd name="connsiteX253" fmla="*/ 87668 w 736968"/>
              <a:gd name="connsiteY253" fmla="*/ 221620 h 614713"/>
              <a:gd name="connsiteX254" fmla="*/ 86639 w 736968"/>
              <a:gd name="connsiteY254" fmla="*/ 222091 h 614713"/>
              <a:gd name="connsiteX255" fmla="*/ 68472 w 736968"/>
              <a:gd name="connsiteY255" fmla="*/ 254370 h 614713"/>
              <a:gd name="connsiteX256" fmla="*/ 45614 w 736968"/>
              <a:gd name="connsiteY256" fmla="*/ 304773 h 614713"/>
              <a:gd name="connsiteX257" fmla="*/ 45948 w 736968"/>
              <a:gd name="connsiteY257" fmla="*/ 321037 h 614713"/>
              <a:gd name="connsiteX258" fmla="*/ 45348 w 736968"/>
              <a:gd name="connsiteY258" fmla="*/ 321526 h 614713"/>
              <a:gd name="connsiteX259" fmla="*/ 45014 w 736968"/>
              <a:gd name="connsiteY259" fmla="*/ 321158 h 614713"/>
              <a:gd name="connsiteX260" fmla="*/ 40648 w 736968"/>
              <a:gd name="connsiteY260" fmla="*/ 305065 h 614713"/>
              <a:gd name="connsiteX261" fmla="*/ 9409 w 736968"/>
              <a:gd name="connsiteY261" fmla="*/ 208467 h 614713"/>
              <a:gd name="connsiteX262" fmla="*/ 8509 w 736968"/>
              <a:gd name="connsiteY262" fmla="*/ 207464 h 614713"/>
              <a:gd name="connsiteX263" fmla="*/ 5403 w 736968"/>
              <a:gd name="connsiteY263" fmla="*/ 215331 h 614713"/>
              <a:gd name="connsiteX264" fmla="*/ 33666 w 736968"/>
              <a:gd name="connsiteY264" fmla="*/ 334140 h 614713"/>
              <a:gd name="connsiteX265" fmla="*/ 59037 w 736968"/>
              <a:gd name="connsiteY265" fmla="*/ 364260 h 614713"/>
              <a:gd name="connsiteX266" fmla="*/ 30372 w 736968"/>
              <a:gd name="connsiteY266" fmla="*/ 237961 h 614713"/>
              <a:gd name="connsiteX267" fmla="*/ 41617 w 736968"/>
              <a:gd name="connsiteY267" fmla="*/ 272905 h 614713"/>
              <a:gd name="connsiteX268" fmla="*/ 42535 w 736968"/>
              <a:gd name="connsiteY268" fmla="*/ 272340 h 614713"/>
              <a:gd name="connsiteX269" fmla="*/ 69030 w 736968"/>
              <a:gd name="connsiteY269" fmla="*/ 221988 h 614713"/>
              <a:gd name="connsiteX270" fmla="*/ 70943 w 736968"/>
              <a:gd name="connsiteY270" fmla="*/ 219443 h 614713"/>
              <a:gd name="connsiteX271" fmla="*/ 95096 w 736968"/>
              <a:gd name="connsiteY271" fmla="*/ 182853 h 614713"/>
              <a:gd name="connsiteX272" fmla="*/ 105861 w 736968"/>
              <a:gd name="connsiteY272" fmla="*/ 151397 h 614713"/>
              <a:gd name="connsiteX273" fmla="*/ 105338 w 736968"/>
              <a:gd name="connsiteY273" fmla="*/ 151354 h 614713"/>
              <a:gd name="connsiteX274" fmla="*/ 104300 w 736968"/>
              <a:gd name="connsiteY274" fmla="*/ 151568 h 614713"/>
              <a:gd name="connsiteX275" fmla="*/ 104025 w 736968"/>
              <a:gd name="connsiteY275" fmla="*/ 151782 h 614713"/>
              <a:gd name="connsiteX276" fmla="*/ 103879 w 736968"/>
              <a:gd name="connsiteY276" fmla="*/ 151962 h 614713"/>
              <a:gd name="connsiteX277" fmla="*/ 79503 w 736968"/>
              <a:gd name="connsiteY277" fmla="*/ 179092 h 614713"/>
              <a:gd name="connsiteX278" fmla="*/ 51644 w 736968"/>
              <a:gd name="connsiteY278" fmla="*/ 209863 h 614713"/>
              <a:gd name="connsiteX279" fmla="*/ 49096 w 736968"/>
              <a:gd name="connsiteY279" fmla="*/ 215596 h 614713"/>
              <a:gd name="connsiteX280" fmla="*/ 44790 w 736968"/>
              <a:gd name="connsiteY280" fmla="*/ 226761 h 614713"/>
              <a:gd name="connsiteX281" fmla="*/ 43804 w 736968"/>
              <a:gd name="connsiteY281" fmla="*/ 226975 h 614713"/>
              <a:gd name="connsiteX282" fmla="*/ 45099 w 736968"/>
              <a:gd name="connsiteY282" fmla="*/ 207627 h 614713"/>
              <a:gd name="connsiteX283" fmla="*/ 41411 w 736968"/>
              <a:gd name="connsiteY283" fmla="*/ 167807 h 614713"/>
              <a:gd name="connsiteX284" fmla="*/ 42200 w 736968"/>
              <a:gd name="connsiteY284" fmla="*/ 117729 h 614713"/>
              <a:gd name="connsiteX285" fmla="*/ 43272 w 736968"/>
              <a:gd name="connsiteY285" fmla="*/ 113762 h 614713"/>
              <a:gd name="connsiteX286" fmla="*/ 44121 w 736968"/>
              <a:gd name="connsiteY286" fmla="*/ 110986 h 614713"/>
              <a:gd name="connsiteX287" fmla="*/ 43632 w 736968"/>
              <a:gd name="connsiteY287" fmla="*/ 109931 h 614713"/>
              <a:gd name="connsiteX288" fmla="*/ 20440 w 736968"/>
              <a:gd name="connsiteY288" fmla="*/ 200335 h 614713"/>
              <a:gd name="connsiteX289" fmla="*/ 30372 w 736968"/>
              <a:gd name="connsiteY289" fmla="*/ 237961 h 614713"/>
              <a:gd name="connsiteX290" fmla="*/ 55709 w 736968"/>
              <a:gd name="connsiteY290" fmla="*/ 171783 h 614713"/>
              <a:gd name="connsiteX291" fmla="*/ 55401 w 736968"/>
              <a:gd name="connsiteY291" fmla="*/ 182382 h 614713"/>
              <a:gd name="connsiteX292" fmla="*/ 55418 w 736968"/>
              <a:gd name="connsiteY292" fmla="*/ 182399 h 614713"/>
              <a:gd name="connsiteX293" fmla="*/ 55401 w 736968"/>
              <a:gd name="connsiteY293" fmla="*/ 182597 h 614713"/>
              <a:gd name="connsiteX294" fmla="*/ 56113 w 736968"/>
              <a:gd name="connsiteY294" fmla="*/ 182391 h 614713"/>
              <a:gd name="connsiteX295" fmla="*/ 56284 w 736968"/>
              <a:gd name="connsiteY295" fmla="*/ 182203 h 614713"/>
              <a:gd name="connsiteX296" fmla="*/ 88132 w 736968"/>
              <a:gd name="connsiteY296" fmla="*/ 149169 h 614713"/>
              <a:gd name="connsiteX297" fmla="*/ 115313 w 736968"/>
              <a:gd name="connsiteY297" fmla="*/ 126315 h 614713"/>
              <a:gd name="connsiteX298" fmla="*/ 136113 w 736968"/>
              <a:gd name="connsiteY298" fmla="*/ 85630 h 614713"/>
              <a:gd name="connsiteX299" fmla="*/ 136387 w 736968"/>
              <a:gd name="connsiteY299" fmla="*/ 83650 h 614713"/>
              <a:gd name="connsiteX300" fmla="*/ 135332 w 736968"/>
              <a:gd name="connsiteY300" fmla="*/ 83950 h 614713"/>
              <a:gd name="connsiteX301" fmla="*/ 131713 w 736968"/>
              <a:gd name="connsiteY301" fmla="*/ 88698 h 614713"/>
              <a:gd name="connsiteX302" fmla="*/ 108056 w 736968"/>
              <a:gd name="connsiteY302" fmla="*/ 109914 h 614713"/>
              <a:gd name="connsiteX303" fmla="*/ 71748 w 736968"/>
              <a:gd name="connsiteY303" fmla="*/ 139923 h 614713"/>
              <a:gd name="connsiteX304" fmla="*/ 71534 w 736968"/>
              <a:gd name="connsiteY304" fmla="*/ 140214 h 614713"/>
              <a:gd name="connsiteX305" fmla="*/ 70557 w 736968"/>
              <a:gd name="connsiteY305" fmla="*/ 139820 h 614713"/>
              <a:gd name="connsiteX306" fmla="*/ 76397 w 736968"/>
              <a:gd name="connsiteY306" fmla="*/ 117524 h 614713"/>
              <a:gd name="connsiteX307" fmla="*/ 85799 w 736968"/>
              <a:gd name="connsiteY307" fmla="*/ 76187 h 614713"/>
              <a:gd name="connsiteX308" fmla="*/ 98870 w 736968"/>
              <a:gd name="connsiteY308" fmla="*/ 57360 h 614713"/>
              <a:gd name="connsiteX309" fmla="*/ 99008 w 736968"/>
              <a:gd name="connsiteY309" fmla="*/ 57207 h 614713"/>
              <a:gd name="connsiteX310" fmla="*/ 99085 w 736968"/>
              <a:gd name="connsiteY310" fmla="*/ 56016 h 614713"/>
              <a:gd name="connsiteX311" fmla="*/ 95954 w 736968"/>
              <a:gd name="connsiteY311" fmla="*/ 57198 h 614713"/>
              <a:gd name="connsiteX312" fmla="*/ 60436 w 736968"/>
              <a:gd name="connsiteY312" fmla="*/ 95964 h 614713"/>
              <a:gd name="connsiteX313" fmla="*/ 54534 w 736968"/>
              <a:gd name="connsiteY313" fmla="*/ 128347 h 614713"/>
              <a:gd name="connsiteX314" fmla="*/ 54817 w 736968"/>
              <a:gd name="connsiteY314" fmla="*/ 139452 h 614713"/>
              <a:gd name="connsiteX315" fmla="*/ 55709 w 736968"/>
              <a:gd name="connsiteY315" fmla="*/ 171783 h 614713"/>
              <a:gd name="connsiteX316" fmla="*/ 90430 w 736968"/>
              <a:gd name="connsiteY316" fmla="*/ 107892 h 614713"/>
              <a:gd name="connsiteX317" fmla="*/ 90816 w 736968"/>
              <a:gd name="connsiteY317" fmla="*/ 107918 h 614713"/>
              <a:gd name="connsiteX318" fmla="*/ 91014 w 736968"/>
              <a:gd name="connsiteY318" fmla="*/ 107764 h 614713"/>
              <a:gd name="connsiteX319" fmla="*/ 120142 w 736968"/>
              <a:gd name="connsiteY319" fmla="*/ 83702 h 614713"/>
              <a:gd name="connsiteX320" fmla="*/ 143550 w 736968"/>
              <a:gd name="connsiteY320" fmla="*/ 54833 h 614713"/>
              <a:gd name="connsiteX321" fmla="*/ 168338 w 736968"/>
              <a:gd name="connsiteY321" fmla="*/ 25321 h 614713"/>
              <a:gd name="connsiteX322" fmla="*/ 170533 w 736968"/>
              <a:gd name="connsiteY322" fmla="*/ 23410 h 614713"/>
              <a:gd name="connsiteX323" fmla="*/ 170654 w 736968"/>
              <a:gd name="connsiteY323" fmla="*/ 22288 h 614713"/>
              <a:gd name="connsiteX324" fmla="*/ 123788 w 736968"/>
              <a:gd name="connsiteY324" fmla="*/ 44936 h 614713"/>
              <a:gd name="connsiteX325" fmla="*/ 90465 w 736968"/>
              <a:gd name="connsiteY325" fmla="*/ 107686 h 614713"/>
              <a:gd name="connsiteX326" fmla="*/ 90430 w 736968"/>
              <a:gd name="connsiteY326" fmla="*/ 107892 h 614713"/>
              <a:gd name="connsiteX327" fmla="*/ 361962 w 736968"/>
              <a:gd name="connsiteY327" fmla="*/ 317499 h 614713"/>
              <a:gd name="connsiteX328" fmla="*/ 357913 w 736968"/>
              <a:gd name="connsiteY328" fmla="*/ 317798 h 614713"/>
              <a:gd name="connsiteX329" fmla="*/ 361962 w 736968"/>
              <a:gd name="connsiteY329" fmla="*/ 317499 h 614713"/>
              <a:gd name="connsiteX330" fmla="*/ 413348 w 736968"/>
              <a:gd name="connsiteY330" fmla="*/ 198801 h 614713"/>
              <a:gd name="connsiteX331" fmla="*/ 405209 w 736968"/>
              <a:gd name="connsiteY331" fmla="*/ 208483 h 614713"/>
              <a:gd name="connsiteX332" fmla="*/ 413348 w 736968"/>
              <a:gd name="connsiteY332" fmla="*/ 198801 h 614713"/>
              <a:gd name="connsiteX333" fmla="*/ 414961 w 736968"/>
              <a:gd name="connsiteY333" fmla="*/ 197181 h 614713"/>
              <a:gd name="connsiteX334" fmla="*/ 420150 w 736968"/>
              <a:gd name="connsiteY334" fmla="*/ 194336 h 614713"/>
              <a:gd name="connsiteX335" fmla="*/ 413254 w 736968"/>
              <a:gd name="connsiteY335" fmla="*/ 192545 h 614713"/>
              <a:gd name="connsiteX336" fmla="*/ 414961 w 736968"/>
              <a:gd name="connsiteY336" fmla="*/ 197181 h 614713"/>
              <a:gd name="connsiteX337" fmla="*/ 505468 w 736968"/>
              <a:gd name="connsiteY337" fmla="*/ 276444 h 614713"/>
              <a:gd name="connsiteX338" fmla="*/ 501274 w 736968"/>
              <a:gd name="connsiteY338" fmla="*/ 280001 h 614713"/>
              <a:gd name="connsiteX339" fmla="*/ 505633 w 736968"/>
              <a:gd name="connsiteY339" fmla="*/ 281003 h 614713"/>
              <a:gd name="connsiteX340" fmla="*/ 505468 w 736968"/>
              <a:gd name="connsiteY340" fmla="*/ 276444 h 614713"/>
              <a:gd name="connsiteX341" fmla="*/ 472669 w 736968"/>
              <a:gd name="connsiteY341" fmla="*/ 191097 h 614713"/>
              <a:gd name="connsiteX342" fmla="*/ 472077 w 736968"/>
              <a:gd name="connsiteY342" fmla="*/ 194362 h 614713"/>
              <a:gd name="connsiteX343" fmla="*/ 477018 w 736968"/>
              <a:gd name="connsiteY343" fmla="*/ 193599 h 614713"/>
              <a:gd name="connsiteX344" fmla="*/ 479642 w 736968"/>
              <a:gd name="connsiteY344" fmla="*/ 189640 h 614713"/>
              <a:gd name="connsiteX345" fmla="*/ 478081 w 736968"/>
              <a:gd name="connsiteY345" fmla="*/ 183505 h 614713"/>
              <a:gd name="connsiteX346" fmla="*/ 483004 w 736968"/>
              <a:gd name="connsiteY346" fmla="*/ 183693 h 614713"/>
              <a:gd name="connsiteX347" fmla="*/ 484849 w 736968"/>
              <a:gd name="connsiteY347" fmla="*/ 180138 h 614713"/>
              <a:gd name="connsiteX348" fmla="*/ 481315 w 736968"/>
              <a:gd name="connsiteY348" fmla="*/ 174782 h 614713"/>
              <a:gd name="connsiteX349" fmla="*/ 475688 w 736968"/>
              <a:gd name="connsiteY349" fmla="*/ 180454 h 614713"/>
              <a:gd name="connsiteX350" fmla="*/ 475722 w 736968"/>
              <a:gd name="connsiteY350" fmla="*/ 184979 h 614713"/>
              <a:gd name="connsiteX351" fmla="*/ 472669 w 736968"/>
              <a:gd name="connsiteY351" fmla="*/ 191097 h 614713"/>
              <a:gd name="connsiteX352" fmla="*/ 517125 w 736968"/>
              <a:gd name="connsiteY352" fmla="*/ 191466 h 614713"/>
              <a:gd name="connsiteX353" fmla="*/ 520995 w 736968"/>
              <a:gd name="connsiteY353" fmla="*/ 203625 h 614713"/>
              <a:gd name="connsiteX354" fmla="*/ 523977 w 736968"/>
              <a:gd name="connsiteY354" fmla="*/ 212254 h 614713"/>
              <a:gd name="connsiteX355" fmla="*/ 524801 w 736968"/>
              <a:gd name="connsiteY355" fmla="*/ 205836 h 614713"/>
              <a:gd name="connsiteX356" fmla="*/ 521252 w 736968"/>
              <a:gd name="connsiteY356" fmla="*/ 191268 h 614713"/>
              <a:gd name="connsiteX357" fmla="*/ 514793 w 736968"/>
              <a:gd name="connsiteY357" fmla="*/ 179177 h 614713"/>
              <a:gd name="connsiteX358" fmla="*/ 517324 w 736968"/>
              <a:gd name="connsiteY358" fmla="*/ 188261 h 614713"/>
              <a:gd name="connsiteX359" fmla="*/ 517125 w 736968"/>
              <a:gd name="connsiteY359" fmla="*/ 191466 h 614713"/>
              <a:gd name="connsiteX360" fmla="*/ 493631 w 736968"/>
              <a:gd name="connsiteY360" fmla="*/ 76958 h 614713"/>
              <a:gd name="connsiteX361" fmla="*/ 492089 w 736968"/>
              <a:gd name="connsiteY361" fmla="*/ 70668 h 614713"/>
              <a:gd name="connsiteX362" fmla="*/ 484780 w 736968"/>
              <a:gd name="connsiteY362" fmla="*/ 70609 h 614713"/>
              <a:gd name="connsiteX363" fmla="*/ 493631 w 736968"/>
              <a:gd name="connsiteY363" fmla="*/ 76958 h 614713"/>
              <a:gd name="connsiteX364" fmla="*/ 392480 w 736968"/>
              <a:gd name="connsiteY364" fmla="*/ 47935 h 614713"/>
              <a:gd name="connsiteX365" fmla="*/ 388234 w 736968"/>
              <a:gd name="connsiteY365" fmla="*/ 38527 h 614713"/>
              <a:gd name="connsiteX366" fmla="*/ 377126 w 736968"/>
              <a:gd name="connsiteY366" fmla="*/ 40703 h 614713"/>
              <a:gd name="connsiteX367" fmla="*/ 383440 w 736968"/>
              <a:gd name="connsiteY367" fmla="*/ 44370 h 614713"/>
              <a:gd name="connsiteX368" fmla="*/ 393183 w 736968"/>
              <a:gd name="connsiteY368" fmla="*/ 49649 h 614713"/>
              <a:gd name="connsiteX369" fmla="*/ 392480 w 736968"/>
              <a:gd name="connsiteY369" fmla="*/ 47935 h 614713"/>
              <a:gd name="connsiteX370" fmla="*/ 419275 w 736968"/>
              <a:gd name="connsiteY370" fmla="*/ 34465 h 614713"/>
              <a:gd name="connsiteX371" fmla="*/ 391570 w 736968"/>
              <a:gd name="connsiteY371" fmla="*/ 37686 h 614713"/>
              <a:gd name="connsiteX372" fmla="*/ 407696 w 736968"/>
              <a:gd name="connsiteY372" fmla="*/ 37712 h 614713"/>
              <a:gd name="connsiteX373" fmla="*/ 419275 w 736968"/>
              <a:gd name="connsiteY373" fmla="*/ 34465 h 614713"/>
              <a:gd name="connsiteX374" fmla="*/ 353873 w 736968"/>
              <a:gd name="connsiteY374" fmla="*/ 294294 h 614713"/>
              <a:gd name="connsiteX375" fmla="*/ 352124 w 736968"/>
              <a:gd name="connsiteY375" fmla="*/ 294388 h 614713"/>
              <a:gd name="connsiteX376" fmla="*/ 352535 w 736968"/>
              <a:gd name="connsiteY376" fmla="*/ 297721 h 614713"/>
              <a:gd name="connsiteX377" fmla="*/ 358068 w 736968"/>
              <a:gd name="connsiteY377" fmla="*/ 297790 h 614713"/>
              <a:gd name="connsiteX378" fmla="*/ 357750 w 736968"/>
              <a:gd name="connsiteY378" fmla="*/ 294911 h 614713"/>
              <a:gd name="connsiteX379" fmla="*/ 353873 w 736968"/>
              <a:gd name="connsiteY379" fmla="*/ 294294 h 614713"/>
              <a:gd name="connsiteX380" fmla="*/ 345262 w 736968"/>
              <a:gd name="connsiteY380" fmla="*/ 249872 h 614713"/>
              <a:gd name="connsiteX381" fmla="*/ 348109 w 736968"/>
              <a:gd name="connsiteY381" fmla="*/ 248544 h 614713"/>
              <a:gd name="connsiteX382" fmla="*/ 350176 w 736968"/>
              <a:gd name="connsiteY382" fmla="*/ 249941 h 614713"/>
              <a:gd name="connsiteX383" fmla="*/ 348015 w 736968"/>
              <a:gd name="connsiteY383" fmla="*/ 245168 h 614713"/>
              <a:gd name="connsiteX384" fmla="*/ 345262 w 736968"/>
              <a:gd name="connsiteY384" fmla="*/ 249871 h 614713"/>
              <a:gd name="connsiteX385" fmla="*/ 352998 w 736968"/>
              <a:gd name="connsiteY385" fmla="*/ 254807 h 614713"/>
              <a:gd name="connsiteX386" fmla="*/ 347775 w 736968"/>
              <a:gd name="connsiteY386" fmla="*/ 256213 h 614713"/>
              <a:gd name="connsiteX387" fmla="*/ 345502 w 736968"/>
              <a:gd name="connsiteY387" fmla="*/ 251971 h 614713"/>
              <a:gd name="connsiteX388" fmla="*/ 342311 w 736968"/>
              <a:gd name="connsiteY388" fmla="*/ 256564 h 614713"/>
              <a:gd name="connsiteX389" fmla="*/ 343778 w 736968"/>
              <a:gd name="connsiteY389" fmla="*/ 260917 h 614713"/>
              <a:gd name="connsiteX390" fmla="*/ 356558 w 736968"/>
              <a:gd name="connsiteY390" fmla="*/ 262614 h 614713"/>
              <a:gd name="connsiteX391" fmla="*/ 352998 w 736968"/>
              <a:gd name="connsiteY391" fmla="*/ 254807 h 614713"/>
              <a:gd name="connsiteX392" fmla="*/ 311699 w 736968"/>
              <a:gd name="connsiteY392" fmla="*/ 299290 h 614713"/>
              <a:gd name="connsiteX393" fmla="*/ 312960 w 736968"/>
              <a:gd name="connsiteY393" fmla="*/ 293257 h 614713"/>
              <a:gd name="connsiteX394" fmla="*/ 308251 w 736968"/>
              <a:gd name="connsiteY394" fmla="*/ 293685 h 614713"/>
              <a:gd name="connsiteX395" fmla="*/ 311699 w 736968"/>
              <a:gd name="connsiteY395" fmla="*/ 299290 h 614713"/>
              <a:gd name="connsiteX396" fmla="*/ 257567 w 736968"/>
              <a:gd name="connsiteY396" fmla="*/ 298887 h 614713"/>
              <a:gd name="connsiteX397" fmla="*/ 256366 w 736968"/>
              <a:gd name="connsiteY397" fmla="*/ 291072 h 614713"/>
              <a:gd name="connsiteX398" fmla="*/ 254437 w 736968"/>
              <a:gd name="connsiteY398" fmla="*/ 291835 h 614713"/>
              <a:gd name="connsiteX399" fmla="*/ 252961 w 736968"/>
              <a:gd name="connsiteY399" fmla="*/ 289401 h 614713"/>
              <a:gd name="connsiteX400" fmla="*/ 254171 w 736968"/>
              <a:gd name="connsiteY400" fmla="*/ 295793 h 614713"/>
              <a:gd name="connsiteX401" fmla="*/ 257567 w 736968"/>
              <a:gd name="connsiteY401" fmla="*/ 298887 h 614713"/>
              <a:gd name="connsiteX402" fmla="*/ 256264 w 736968"/>
              <a:gd name="connsiteY402" fmla="*/ 286530 h 614713"/>
              <a:gd name="connsiteX403" fmla="*/ 258116 w 736968"/>
              <a:gd name="connsiteY403" fmla="*/ 274216 h 614713"/>
              <a:gd name="connsiteX404" fmla="*/ 255664 w 736968"/>
              <a:gd name="connsiteY404" fmla="*/ 268158 h 614713"/>
              <a:gd name="connsiteX405" fmla="*/ 256032 w 736968"/>
              <a:gd name="connsiteY405" fmla="*/ 273531 h 614713"/>
              <a:gd name="connsiteX406" fmla="*/ 253973 w 736968"/>
              <a:gd name="connsiteY406" fmla="*/ 283660 h 614713"/>
              <a:gd name="connsiteX407" fmla="*/ 256264 w 736968"/>
              <a:gd name="connsiteY407" fmla="*/ 286530 h 614713"/>
              <a:gd name="connsiteX408" fmla="*/ 111728 w 736968"/>
              <a:gd name="connsiteY408" fmla="*/ 256564 h 614713"/>
              <a:gd name="connsiteX409" fmla="*/ 186908 w 736968"/>
              <a:gd name="connsiteY409" fmla="*/ 75107 h 614713"/>
              <a:gd name="connsiteX410" fmla="*/ 368541 w 736968"/>
              <a:gd name="connsiteY410" fmla="*/ 0 h 614713"/>
              <a:gd name="connsiteX411" fmla="*/ 550172 w 736968"/>
              <a:gd name="connsiteY411" fmla="*/ 75107 h 614713"/>
              <a:gd name="connsiteX412" fmla="*/ 625352 w 736968"/>
              <a:gd name="connsiteY412" fmla="*/ 256564 h 614713"/>
              <a:gd name="connsiteX413" fmla="*/ 550172 w 736968"/>
              <a:gd name="connsiteY413" fmla="*/ 438021 h 614713"/>
              <a:gd name="connsiteX414" fmla="*/ 368541 w 736968"/>
              <a:gd name="connsiteY414" fmla="*/ 513127 h 614713"/>
              <a:gd name="connsiteX415" fmla="*/ 186908 w 736968"/>
              <a:gd name="connsiteY415" fmla="*/ 438021 h 614713"/>
              <a:gd name="connsiteX416" fmla="*/ 111728 w 736968"/>
              <a:gd name="connsiteY416" fmla="*/ 256564 h 614713"/>
              <a:gd name="connsiteX417" fmla="*/ 190836 w 736968"/>
              <a:gd name="connsiteY417" fmla="*/ 426350 h 614713"/>
              <a:gd name="connsiteX418" fmla="*/ 218738 w 736968"/>
              <a:gd name="connsiteY418" fmla="*/ 398475 h 614713"/>
              <a:gd name="connsiteX419" fmla="*/ 203299 w 736968"/>
              <a:gd name="connsiteY419" fmla="*/ 380215 h 614713"/>
              <a:gd name="connsiteX420" fmla="*/ 197432 w 736968"/>
              <a:gd name="connsiteY420" fmla="*/ 376291 h 614713"/>
              <a:gd name="connsiteX421" fmla="*/ 192663 w 736968"/>
              <a:gd name="connsiteY421" fmla="*/ 368964 h 614713"/>
              <a:gd name="connsiteX422" fmla="*/ 190030 w 736968"/>
              <a:gd name="connsiteY422" fmla="*/ 372100 h 614713"/>
              <a:gd name="connsiteX423" fmla="*/ 179788 w 736968"/>
              <a:gd name="connsiteY423" fmla="*/ 360892 h 614713"/>
              <a:gd name="connsiteX424" fmla="*/ 172043 w 736968"/>
              <a:gd name="connsiteY424" fmla="*/ 353719 h 614713"/>
              <a:gd name="connsiteX425" fmla="*/ 169110 w 736968"/>
              <a:gd name="connsiteY425" fmla="*/ 351483 h 614713"/>
              <a:gd name="connsiteX426" fmla="*/ 158963 w 736968"/>
              <a:gd name="connsiteY426" fmla="*/ 345468 h 614713"/>
              <a:gd name="connsiteX427" fmla="*/ 157788 w 736968"/>
              <a:gd name="connsiteY427" fmla="*/ 349023 h 614713"/>
              <a:gd name="connsiteX428" fmla="*/ 148318 w 736968"/>
              <a:gd name="connsiteY428" fmla="*/ 342486 h 614713"/>
              <a:gd name="connsiteX429" fmla="*/ 145822 w 736968"/>
              <a:gd name="connsiteY429" fmla="*/ 346968 h 614713"/>
              <a:gd name="connsiteX430" fmla="*/ 147743 w 736968"/>
              <a:gd name="connsiteY430" fmla="*/ 356470 h 614713"/>
              <a:gd name="connsiteX431" fmla="*/ 139938 w 736968"/>
              <a:gd name="connsiteY431" fmla="*/ 335939 h 614713"/>
              <a:gd name="connsiteX432" fmla="*/ 141868 w 736968"/>
              <a:gd name="connsiteY432" fmla="*/ 336205 h 614713"/>
              <a:gd name="connsiteX433" fmla="*/ 140548 w 736968"/>
              <a:gd name="connsiteY433" fmla="*/ 331911 h 614713"/>
              <a:gd name="connsiteX434" fmla="*/ 137828 w 736968"/>
              <a:gd name="connsiteY434" fmla="*/ 327019 h 614713"/>
              <a:gd name="connsiteX435" fmla="*/ 141243 w 736968"/>
              <a:gd name="connsiteY435" fmla="*/ 324105 h 614713"/>
              <a:gd name="connsiteX436" fmla="*/ 142545 w 736968"/>
              <a:gd name="connsiteY436" fmla="*/ 320584 h 614713"/>
              <a:gd name="connsiteX437" fmla="*/ 147126 w 736968"/>
              <a:gd name="connsiteY437" fmla="*/ 317070 h 614713"/>
              <a:gd name="connsiteX438" fmla="*/ 149494 w 736968"/>
              <a:gd name="connsiteY438" fmla="*/ 319109 h 614713"/>
              <a:gd name="connsiteX439" fmla="*/ 156896 w 736968"/>
              <a:gd name="connsiteY439" fmla="*/ 320592 h 614713"/>
              <a:gd name="connsiteX440" fmla="*/ 154185 w 736968"/>
              <a:gd name="connsiteY440" fmla="*/ 318484 h 614713"/>
              <a:gd name="connsiteX441" fmla="*/ 160395 w 736968"/>
              <a:gd name="connsiteY441" fmla="*/ 318621 h 614713"/>
              <a:gd name="connsiteX442" fmla="*/ 165979 w 736968"/>
              <a:gd name="connsiteY442" fmla="*/ 318235 h 614713"/>
              <a:gd name="connsiteX443" fmla="*/ 172198 w 736968"/>
              <a:gd name="connsiteY443" fmla="*/ 320626 h 614713"/>
              <a:gd name="connsiteX444" fmla="*/ 162068 w 736968"/>
              <a:gd name="connsiteY444" fmla="*/ 262048 h 614713"/>
              <a:gd name="connsiteX445" fmla="*/ 122766 w 736968"/>
              <a:gd name="connsiteY445" fmla="*/ 262048 h 614713"/>
              <a:gd name="connsiteX446" fmla="*/ 190836 w 736968"/>
              <a:gd name="connsiteY446" fmla="*/ 426350 h 614713"/>
              <a:gd name="connsiteX447" fmla="*/ 352955 w 736968"/>
              <a:gd name="connsiteY447" fmla="*/ 198903 h 614713"/>
              <a:gd name="connsiteX448" fmla="*/ 348924 w 736968"/>
              <a:gd name="connsiteY448" fmla="*/ 204422 h 614713"/>
              <a:gd name="connsiteX449" fmla="*/ 363051 w 736968"/>
              <a:gd name="connsiteY449" fmla="*/ 201149 h 614713"/>
              <a:gd name="connsiteX450" fmla="*/ 363051 w 736968"/>
              <a:gd name="connsiteY450" fmla="*/ 161783 h 614713"/>
              <a:gd name="connsiteX451" fmla="*/ 305369 w 736968"/>
              <a:gd name="connsiteY451" fmla="*/ 185707 h 614713"/>
              <a:gd name="connsiteX452" fmla="*/ 333185 w 736968"/>
              <a:gd name="connsiteY452" fmla="*/ 213496 h 614713"/>
              <a:gd name="connsiteX453" fmla="*/ 343598 w 736968"/>
              <a:gd name="connsiteY453" fmla="*/ 206727 h 614713"/>
              <a:gd name="connsiteX454" fmla="*/ 346531 w 736968"/>
              <a:gd name="connsiteY454" fmla="*/ 205382 h 614713"/>
              <a:gd name="connsiteX455" fmla="*/ 352955 w 736968"/>
              <a:gd name="connsiteY455" fmla="*/ 198903 h 614713"/>
              <a:gd name="connsiteX456" fmla="*/ 255835 w 736968"/>
              <a:gd name="connsiteY456" fmla="*/ 345674 h 614713"/>
              <a:gd name="connsiteX457" fmla="*/ 255646 w 736968"/>
              <a:gd name="connsiteY457" fmla="*/ 347953 h 614713"/>
              <a:gd name="connsiteX458" fmla="*/ 261968 w 736968"/>
              <a:gd name="connsiteY458" fmla="*/ 355279 h 614713"/>
              <a:gd name="connsiteX459" fmla="*/ 289835 w 736968"/>
              <a:gd name="connsiteY459" fmla="*/ 327438 h 614713"/>
              <a:gd name="connsiteX460" fmla="*/ 264095 w 736968"/>
              <a:gd name="connsiteY460" fmla="*/ 274679 h 614713"/>
              <a:gd name="connsiteX461" fmla="*/ 262053 w 736968"/>
              <a:gd name="connsiteY461" fmla="*/ 273985 h 614713"/>
              <a:gd name="connsiteX462" fmla="*/ 263512 w 736968"/>
              <a:gd name="connsiteY462" fmla="*/ 271020 h 614713"/>
              <a:gd name="connsiteX463" fmla="*/ 262663 w 736968"/>
              <a:gd name="connsiteY463" fmla="*/ 262048 h 614713"/>
              <a:gd name="connsiteX464" fmla="*/ 244110 w 736968"/>
              <a:gd name="connsiteY464" fmla="*/ 262048 h 614713"/>
              <a:gd name="connsiteX465" fmla="*/ 243535 w 736968"/>
              <a:gd name="connsiteY465" fmla="*/ 270729 h 614713"/>
              <a:gd name="connsiteX466" fmla="*/ 238208 w 736968"/>
              <a:gd name="connsiteY466" fmla="*/ 270909 h 614713"/>
              <a:gd name="connsiteX467" fmla="*/ 234777 w 736968"/>
              <a:gd name="connsiteY467" fmla="*/ 278595 h 614713"/>
              <a:gd name="connsiteX468" fmla="*/ 235910 w 736968"/>
              <a:gd name="connsiteY468" fmla="*/ 284191 h 614713"/>
              <a:gd name="connsiteX469" fmla="*/ 237659 w 736968"/>
              <a:gd name="connsiteY469" fmla="*/ 289392 h 614713"/>
              <a:gd name="connsiteX470" fmla="*/ 244822 w 736968"/>
              <a:gd name="connsiteY470" fmla="*/ 297832 h 614713"/>
              <a:gd name="connsiteX471" fmla="*/ 241280 w 736968"/>
              <a:gd name="connsiteY471" fmla="*/ 298981 h 614713"/>
              <a:gd name="connsiteX472" fmla="*/ 245259 w 736968"/>
              <a:gd name="connsiteY472" fmla="*/ 303505 h 614713"/>
              <a:gd name="connsiteX473" fmla="*/ 246666 w 736968"/>
              <a:gd name="connsiteY473" fmla="*/ 311492 h 614713"/>
              <a:gd name="connsiteX474" fmla="*/ 250182 w 736968"/>
              <a:gd name="connsiteY474" fmla="*/ 322931 h 614713"/>
              <a:gd name="connsiteX475" fmla="*/ 251049 w 736968"/>
              <a:gd name="connsiteY475" fmla="*/ 334568 h 614713"/>
              <a:gd name="connsiteX476" fmla="*/ 255835 w 736968"/>
              <a:gd name="connsiteY476" fmla="*/ 345674 h 614713"/>
              <a:gd name="connsiteX477" fmla="*/ 232668 w 736968"/>
              <a:gd name="connsiteY477" fmla="*/ 279444 h 614713"/>
              <a:gd name="connsiteX478" fmla="*/ 234752 w 736968"/>
              <a:gd name="connsiteY478" fmla="*/ 267901 h 614713"/>
              <a:gd name="connsiteX479" fmla="*/ 239855 w 736968"/>
              <a:gd name="connsiteY479" fmla="*/ 262048 h 614713"/>
              <a:gd name="connsiteX480" fmla="*/ 223344 w 736968"/>
              <a:gd name="connsiteY480" fmla="*/ 262048 h 614713"/>
              <a:gd name="connsiteX481" fmla="*/ 226534 w 736968"/>
              <a:gd name="connsiteY481" fmla="*/ 287455 h 614713"/>
              <a:gd name="connsiteX482" fmla="*/ 232668 w 736968"/>
              <a:gd name="connsiteY482" fmla="*/ 279444 h 614713"/>
              <a:gd name="connsiteX483" fmla="*/ 222306 w 736968"/>
              <a:gd name="connsiteY483" fmla="*/ 385519 h 614713"/>
              <a:gd name="connsiteX484" fmla="*/ 221912 w 736968"/>
              <a:gd name="connsiteY484" fmla="*/ 385691 h 614713"/>
              <a:gd name="connsiteX485" fmla="*/ 226501 w 736968"/>
              <a:gd name="connsiteY485" fmla="*/ 390720 h 614713"/>
              <a:gd name="connsiteX486" fmla="*/ 229649 w 736968"/>
              <a:gd name="connsiteY486" fmla="*/ 387576 h 614713"/>
              <a:gd name="connsiteX487" fmla="*/ 222306 w 736968"/>
              <a:gd name="connsiteY487" fmla="*/ 385519 h 614713"/>
              <a:gd name="connsiteX488" fmla="*/ 289835 w 736968"/>
              <a:gd name="connsiteY488" fmla="*/ 185690 h 614713"/>
              <a:gd name="connsiteX489" fmla="*/ 262045 w 736968"/>
              <a:gd name="connsiteY489" fmla="*/ 157926 h 614713"/>
              <a:gd name="connsiteX490" fmla="*/ 223352 w 736968"/>
              <a:gd name="connsiteY490" fmla="*/ 251080 h 614713"/>
              <a:gd name="connsiteX491" fmla="*/ 242823 w 736968"/>
              <a:gd name="connsiteY491" fmla="*/ 251080 h 614713"/>
              <a:gd name="connsiteX492" fmla="*/ 246066 w 736968"/>
              <a:gd name="connsiteY492" fmla="*/ 238792 h 614713"/>
              <a:gd name="connsiteX493" fmla="*/ 250440 w 736968"/>
              <a:gd name="connsiteY493" fmla="*/ 230609 h 614713"/>
              <a:gd name="connsiteX494" fmla="*/ 256504 w 736968"/>
              <a:gd name="connsiteY494" fmla="*/ 225690 h 614713"/>
              <a:gd name="connsiteX495" fmla="*/ 268452 w 736968"/>
              <a:gd name="connsiteY495" fmla="*/ 220498 h 614713"/>
              <a:gd name="connsiteX496" fmla="*/ 278788 w 736968"/>
              <a:gd name="connsiteY496" fmla="*/ 215467 h 614713"/>
              <a:gd name="connsiteX497" fmla="*/ 263623 w 736968"/>
              <a:gd name="connsiteY497" fmla="*/ 218518 h 614713"/>
              <a:gd name="connsiteX498" fmla="*/ 270262 w 736968"/>
              <a:gd name="connsiteY498" fmla="*/ 214884 h 614713"/>
              <a:gd name="connsiteX499" fmla="*/ 271488 w 736968"/>
              <a:gd name="connsiteY499" fmla="*/ 214054 h 614713"/>
              <a:gd name="connsiteX500" fmla="*/ 289835 w 736968"/>
              <a:gd name="connsiteY500" fmla="*/ 185690 h 614713"/>
              <a:gd name="connsiteX501" fmla="*/ 284826 w 736968"/>
              <a:gd name="connsiteY501" fmla="*/ 211672 h 614713"/>
              <a:gd name="connsiteX502" fmla="*/ 285975 w 736968"/>
              <a:gd name="connsiteY502" fmla="*/ 211106 h 614713"/>
              <a:gd name="connsiteX503" fmla="*/ 299682 w 736968"/>
              <a:gd name="connsiteY503" fmla="*/ 210060 h 614713"/>
              <a:gd name="connsiteX504" fmla="*/ 309520 w 736968"/>
              <a:gd name="connsiteY504" fmla="*/ 216907 h 614713"/>
              <a:gd name="connsiteX505" fmla="*/ 314847 w 736968"/>
              <a:gd name="connsiteY505" fmla="*/ 215733 h 614713"/>
              <a:gd name="connsiteX506" fmla="*/ 319333 w 736968"/>
              <a:gd name="connsiteY506" fmla="*/ 217524 h 614713"/>
              <a:gd name="connsiteX507" fmla="*/ 321829 w 736968"/>
              <a:gd name="connsiteY507" fmla="*/ 217652 h 614713"/>
              <a:gd name="connsiteX508" fmla="*/ 297606 w 736968"/>
              <a:gd name="connsiteY508" fmla="*/ 193462 h 614713"/>
              <a:gd name="connsiteX509" fmla="*/ 284826 w 736968"/>
              <a:gd name="connsiteY509" fmla="*/ 211672 h 614713"/>
              <a:gd name="connsiteX510" fmla="*/ 257550 w 736968"/>
              <a:gd name="connsiteY510" fmla="*/ 241568 h 614713"/>
              <a:gd name="connsiteX511" fmla="*/ 249694 w 736968"/>
              <a:gd name="connsiteY511" fmla="*/ 245202 h 614713"/>
              <a:gd name="connsiteX512" fmla="*/ 248604 w 736968"/>
              <a:gd name="connsiteY512" fmla="*/ 251080 h 614713"/>
              <a:gd name="connsiteX513" fmla="*/ 262663 w 736968"/>
              <a:gd name="connsiteY513" fmla="*/ 251080 h 614713"/>
              <a:gd name="connsiteX514" fmla="*/ 263366 w 736968"/>
              <a:gd name="connsiteY514" fmla="*/ 243196 h 614713"/>
              <a:gd name="connsiteX515" fmla="*/ 257550 w 736968"/>
              <a:gd name="connsiteY515" fmla="*/ 241568 h 614713"/>
              <a:gd name="connsiteX516" fmla="*/ 297615 w 736968"/>
              <a:gd name="connsiteY516" fmla="*/ 319675 h 614713"/>
              <a:gd name="connsiteX517" fmla="*/ 325448 w 736968"/>
              <a:gd name="connsiteY517" fmla="*/ 291860 h 614713"/>
              <a:gd name="connsiteX518" fmla="*/ 319469 w 736968"/>
              <a:gd name="connsiteY518" fmla="*/ 282948 h 614713"/>
              <a:gd name="connsiteX519" fmla="*/ 319461 w 736968"/>
              <a:gd name="connsiteY519" fmla="*/ 282965 h 614713"/>
              <a:gd name="connsiteX520" fmla="*/ 318432 w 736968"/>
              <a:gd name="connsiteY520" fmla="*/ 284474 h 614713"/>
              <a:gd name="connsiteX521" fmla="*/ 316880 w 736968"/>
              <a:gd name="connsiteY521" fmla="*/ 291629 h 614713"/>
              <a:gd name="connsiteX522" fmla="*/ 306801 w 736968"/>
              <a:gd name="connsiteY522" fmla="*/ 285965 h 614713"/>
              <a:gd name="connsiteX523" fmla="*/ 303147 w 736968"/>
              <a:gd name="connsiteY523" fmla="*/ 288792 h 614713"/>
              <a:gd name="connsiteX524" fmla="*/ 302135 w 736968"/>
              <a:gd name="connsiteY524" fmla="*/ 291946 h 614713"/>
              <a:gd name="connsiteX525" fmla="*/ 298627 w 736968"/>
              <a:gd name="connsiteY525" fmla="*/ 288158 h 614713"/>
              <a:gd name="connsiteX526" fmla="*/ 296946 w 736968"/>
              <a:gd name="connsiteY526" fmla="*/ 284336 h 614713"/>
              <a:gd name="connsiteX527" fmla="*/ 291010 w 736968"/>
              <a:gd name="connsiteY527" fmla="*/ 282400 h 614713"/>
              <a:gd name="connsiteX528" fmla="*/ 286104 w 736968"/>
              <a:gd name="connsiteY528" fmla="*/ 278758 h 614713"/>
              <a:gd name="connsiteX529" fmla="*/ 281018 w 736968"/>
              <a:gd name="connsiteY529" fmla="*/ 278381 h 614713"/>
              <a:gd name="connsiteX530" fmla="*/ 277038 w 736968"/>
              <a:gd name="connsiteY530" fmla="*/ 276573 h 614713"/>
              <a:gd name="connsiteX531" fmla="*/ 275254 w 736968"/>
              <a:gd name="connsiteY531" fmla="*/ 274705 h 614713"/>
              <a:gd name="connsiteX532" fmla="*/ 297615 w 736968"/>
              <a:gd name="connsiteY532" fmla="*/ 319675 h 614713"/>
              <a:gd name="connsiteX533" fmla="*/ 325474 w 736968"/>
              <a:gd name="connsiteY533" fmla="*/ 271646 h 614713"/>
              <a:gd name="connsiteX534" fmla="*/ 325526 w 736968"/>
              <a:gd name="connsiteY534" fmla="*/ 270909 h 614713"/>
              <a:gd name="connsiteX535" fmla="*/ 325543 w 736968"/>
              <a:gd name="connsiteY535" fmla="*/ 270712 h 614713"/>
              <a:gd name="connsiteX536" fmla="*/ 325602 w 736968"/>
              <a:gd name="connsiteY536" fmla="*/ 270146 h 614713"/>
              <a:gd name="connsiteX537" fmla="*/ 325637 w 736968"/>
              <a:gd name="connsiteY537" fmla="*/ 269906 h 614713"/>
              <a:gd name="connsiteX538" fmla="*/ 325688 w 736968"/>
              <a:gd name="connsiteY538" fmla="*/ 269546 h 614713"/>
              <a:gd name="connsiteX539" fmla="*/ 325723 w 736968"/>
              <a:gd name="connsiteY539" fmla="*/ 269349 h 614713"/>
              <a:gd name="connsiteX540" fmla="*/ 325757 w 736968"/>
              <a:gd name="connsiteY540" fmla="*/ 269135 h 614713"/>
              <a:gd name="connsiteX541" fmla="*/ 325911 w 736968"/>
              <a:gd name="connsiteY541" fmla="*/ 268389 h 614713"/>
              <a:gd name="connsiteX542" fmla="*/ 325911 w 736968"/>
              <a:gd name="connsiteY542" fmla="*/ 268372 h 614713"/>
              <a:gd name="connsiteX543" fmla="*/ 326092 w 736968"/>
              <a:gd name="connsiteY543" fmla="*/ 267695 h 614713"/>
              <a:gd name="connsiteX544" fmla="*/ 326152 w 736968"/>
              <a:gd name="connsiteY544" fmla="*/ 267490 h 614713"/>
              <a:gd name="connsiteX545" fmla="*/ 326306 w 736968"/>
              <a:gd name="connsiteY545" fmla="*/ 267044 h 614713"/>
              <a:gd name="connsiteX546" fmla="*/ 326383 w 736968"/>
              <a:gd name="connsiteY546" fmla="*/ 266838 h 614713"/>
              <a:gd name="connsiteX547" fmla="*/ 326563 w 736968"/>
              <a:gd name="connsiteY547" fmla="*/ 266453 h 614713"/>
              <a:gd name="connsiteX548" fmla="*/ 326641 w 736968"/>
              <a:gd name="connsiteY548" fmla="*/ 266290 h 614713"/>
              <a:gd name="connsiteX549" fmla="*/ 326932 w 736968"/>
              <a:gd name="connsiteY549" fmla="*/ 265845 h 614713"/>
              <a:gd name="connsiteX550" fmla="*/ 328339 w 736968"/>
              <a:gd name="connsiteY550" fmla="*/ 265382 h 614713"/>
              <a:gd name="connsiteX551" fmla="*/ 331735 w 736968"/>
              <a:gd name="connsiteY551" fmla="*/ 266213 h 614713"/>
              <a:gd name="connsiteX552" fmla="*/ 334163 w 736968"/>
              <a:gd name="connsiteY552" fmla="*/ 265064 h 614713"/>
              <a:gd name="connsiteX553" fmla="*/ 335029 w 736968"/>
              <a:gd name="connsiteY553" fmla="*/ 263668 h 614713"/>
              <a:gd name="connsiteX554" fmla="*/ 335415 w 736968"/>
              <a:gd name="connsiteY554" fmla="*/ 262331 h 614713"/>
              <a:gd name="connsiteX555" fmla="*/ 335321 w 736968"/>
              <a:gd name="connsiteY555" fmla="*/ 261825 h 614713"/>
              <a:gd name="connsiteX556" fmla="*/ 333433 w 736968"/>
              <a:gd name="connsiteY556" fmla="*/ 261654 h 614713"/>
              <a:gd name="connsiteX557" fmla="*/ 332748 w 736968"/>
              <a:gd name="connsiteY557" fmla="*/ 261869 h 614713"/>
              <a:gd name="connsiteX558" fmla="*/ 331392 w 736968"/>
              <a:gd name="connsiteY558" fmla="*/ 262100 h 614713"/>
              <a:gd name="connsiteX559" fmla="*/ 330758 w 736968"/>
              <a:gd name="connsiteY559" fmla="*/ 262065 h 614713"/>
              <a:gd name="connsiteX560" fmla="*/ 329188 w 736968"/>
              <a:gd name="connsiteY560" fmla="*/ 261148 h 614713"/>
              <a:gd name="connsiteX561" fmla="*/ 328836 w 736968"/>
              <a:gd name="connsiteY561" fmla="*/ 260488 h 614713"/>
              <a:gd name="connsiteX562" fmla="*/ 328373 w 736968"/>
              <a:gd name="connsiteY562" fmla="*/ 259631 h 614713"/>
              <a:gd name="connsiteX563" fmla="*/ 325594 w 736968"/>
              <a:gd name="connsiteY563" fmla="*/ 257481 h 614713"/>
              <a:gd name="connsiteX564" fmla="*/ 323999 w 736968"/>
              <a:gd name="connsiteY564" fmla="*/ 256376 h 614713"/>
              <a:gd name="connsiteX565" fmla="*/ 323244 w 736968"/>
              <a:gd name="connsiteY565" fmla="*/ 255622 h 614713"/>
              <a:gd name="connsiteX566" fmla="*/ 322661 w 736968"/>
              <a:gd name="connsiteY566" fmla="*/ 254979 h 614713"/>
              <a:gd name="connsiteX567" fmla="*/ 322429 w 736968"/>
              <a:gd name="connsiteY567" fmla="*/ 254765 h 614713"/>
              <a:gd name="connsiteX568" fmla="*/ 322043 w 736968"/>
              <a:gd name="connsiteY568" fmla="*/ 254396 h 614713"/>
              <a:gd name="connsiteX569" fmla="*/ 321751 w 736968"/>
              <a:gd name="connsiteY569" fmla="*/ 254148 h 614713"/>
              <a:gd name="connsiteX570" fmla="*/ 321417 w 736968"/>
              <a:gd name="connsiteY570" fmla="*/ 253882 h 614713"/>
              <a:gd name="connsiteX571" fmla="*/ 321065 w 736968"/>
              <a:gd name="connsiteY571" fmla="*/ 253625 h 614713"/>
              <a:gd name="connsiteX572" fmla="*/ 320765 w 736968"/>
              <a:gd name="connsiteY572" fmla="*/ 253436 h 614713"/>
              <a:gd name="connsiteX573" fmla="*/ 320370 w 736968"/>
              <a:gd name="connsiteY573" fmla="*/ 253205 h 614713"/>
              <a:gd name="connsiteX574" fmla="*/ 320113 w 736968"/>
              <a:gd name="connsiteY574" fmla="*/ 253077 h 614713"/>
              <a:gd name="connsiteX575" fmla="*/ 319667 w 736968"/>
              <a:gd name="connsiteY575" fmla="*/ 252880 h 614713"/>
              <a:gd name="connsiteX576" fmla="*/ 319461 w 736968"/>
              <a:gd name="connsiteY576" fmla="*/ 252811 h 614713"/>
              <a:gd name="connsiteX577" fmla="*/ 318947 w 736968"/>
              <a:gd name="connsiteY577" fmla="*/ 252665 h 614713"/>
              <a:gd name="connsiteX578" fmla="*/ 318843 w 736968"/>
              <a:gd name="connsiteY578" fmla="*/ 252648 h 614713"/>
              <a:gd name="connsiteX579" fmla="*/ 314829 w 736968"/>
              <a:gd name="connsiteY579" fmla="*/ 254028 h 614713"/>
              <a:gd name="connsiteX580" fmla="*/ 314778 w 736968"/>
              <a:gd name="connsiteY580" fmla="*/ 254071 h 614713"/>
              <a:gd name="connsiteX581" fmla="*/ 314152 w 736968"/>
              <a:gd name="connsiteY581" fmla="*/ 254765 h 614713"/>
              <a:gd name="connsiteX582" fmla="*/ 314083 w 736968"/>
              <a:gd name="connsiteY582" fmla="*/ 254842 h 614713"/>
              <a:gd name="connsiteX583" fmla="*/ 313466 w 736968"/>
              <a:gd name="connsiteY583" fmla="*/ 255699 h 614713"/>
              <a:gd name="connsiteX584" fmla="*/ 313414 w 736968"/>
              <a:gd name="connsiteY584" fmla="*/ 255776 h 614713"/>
              <a:gd name="connsiteX585" fmla="*/ 312797 w 736968"/>
              <a:gd name="connsiteY585" fmla="*/ 256830 h 614713"/>
              <a:gd name="connsiteX586" fmla="*/ 311562 w 736968"/>
              <a:gd name="connsiteY586" fmla="*/ 259546 h 614713"/>
              <a:gd name="connsiteX587" fmla="*/ 305283 w 736968"/>
              <a:gd name="connsiteY587" fmla="*/ 268313 h 614713"/>
              <a:gd name="connsiteX588" fmla="*/ 307556 w 736968"/>
              <a:gd name="connsiteY588" fmla="*/ 269006 h 614713"/>
              <a:gd name="connsiteX589" fmla="*/ 309288 w 736968"/>
              <a:gd name="connsiteY589" fmla="*/ 269075 h 614713"/>
              <a:gd name="connsiteX590" fmla="*/ 311253 w 736968"/>
              <a:gd name="connsiteY590" fmla="*/ 269015 h 614713"/>
              <a:gd name="connsiteX591" fmla="*/ 313285 w 736968"/>
              <a:gd name="connsiteY591" fmla="*/ 268835 h 614713"/>
              <a:gd name="connsiteX592" fmla="*/ 314264 w 736968"/>
              <a:gd name="connsiteY592" fmla="*/ 268690 h 614713"/>
              <a:gd name="connsiteX593" fmla="*/ 314829 w 736968"/>
              <a:gd name="connsiteY593" fmla="*/ 268595 h 614713"/>
              <a:gd name="connsiteX594" fmla="*/ 315370 w 736968"/>
              <a:gd name="connsiteY594" fmla="*/ 268484 h 614713"/>
              <a:gd name="connsiteX595" fmla="*/ 315841 w 736968"/>
              <a:gd name="connsiteY595" fmla="*/ 268381 h 614713"/>
              <a:gd name="connsiteX596" fmla="*/ 316425 w 736968"/>
              <a:gd name="connsiteY596" fmla="*/ 268218 h 614713"/>
              <a:gd name="connsiteX597" fmla="*/ 316768 w 736968"/>
              <a:gd name="connsiteY597" fmla="*/ 268115 h 614713"/>
              <a:gd name="connsiteX598" fmla="*/ 317583 w 736968"/>
              <a:gd name="connsiteY598" fmla="*/ 267806 h 614713"/>
              <a:gd name="connsiteX599" fmla="*/ 318878 w 736968"/>
              <a:gd name="connsiteY599" fmla="*/ 267292 h 614713"/>
              <a:gd name="connsiteX600" fmla="*/ 318921 w 736968"/>
              <a:gd name="connsiteY600" fmla="*/ 267284 h 614713"/>
              <a:gd name="connsiteX601" fmla="*/ 320139 w 736968"/>
              <a:gd name="connsiteY601" fmla="*/ 266976 h 614713"/>
              <a:gd name="connsiteX602" fmla="*/ 322335 w 736968"/>
              <a:gd name="connsiteY602" fmla="*/ 267044 h 614713"/>
              <a:gd name="connsiteX603" fmla="*/ 324316 w 736968"/>
              <a:gd name="connsiteY603" fmla="*/ 268509 h 614713"/>
              <a:gd name="connsiteX604" fmla="*/ 325474 w 736968"/>
              <a:gd name="connsiteY604" fmla="*/ 271646 h 614713"/>
              <a:gd name="connsiteX605" fmla="*/ 363051 w 736968"/>
              <a:gd name="connsiteY605" fmla="*/ 150797 h 614713"/>
              <a:gd name="connsiteX606" fmla="*/ 363051 w 736968"/>
              <a:gd name="connsiteY606" fmla="*/ 111517 h 614713"/>
              <a:gd name="connsiteX607" fmla="*/ 269798 w 736968"/>
              <a:gd name="connsiteY607" fmla="*/ 150172 h 614713"/>
              <a:gd name="connsiteX608" fmla="*/ 297598 w 736968"/>
              <a:gd name="connsiteY608" fmla="*/ 177935 h 614713"/>
              <a:gd name="connsiteX609" fmla="*/ 363051 w 736968"/>
              <a:gd name="connsiteY609" fmla="*/ 150797 h 614713"/>
              <a:gd name="connsiteX610" fmla="*/ 363051 w 736968"/>
              <a:gd name="connsiteY610" fmla="*/ 100540 h 614713"/>
              <a:gd name="connsiteX611" fmla="*/ 363051 w 736968"/>
              <a:gd name="connsiteY611" fmla="*/ 61260 h 614713"/>
              <a:gd name="connsiteX612" fmla="*/ 234255 w 736968"/>
              <a:gd name="connsiteY612" fmla="*/ 114662 h 614713"/>
              <a:gd name="connsiteX613" fmla="*/ 262045 w 736968"/>
              <a:gd name="connsiteY613" fmla="*/ 142416 h 614713"/>
              <a:gd name="connsiteX614" fmla="*/ 363051 w 736968"/>
              <a:gd name="connsiteY614" fmla="*/ 100540 h 614713"/>
              <a:gd name="connsiteX615" fmla="*/ 226492 w 736968"/>
              <a:gd name="connsiteY615" fmla="*/ 122408 h 614713"/>
              <a:gd name="connsiteX616" fmla="*/ 173055 w 736968"/>
              <a:gd name="connsiteY616" fmla="*/ 251080 h 614713"/>
              <a:gd name="connsiteX617" fmla="*/ 212365 w 736968"/>
              <a:gd name="connsiteY617" fmla="*/ 251080 h 614713"/>
              <a:gd name="connsiteX618" fmla="*/ 254282 w 736968"/>
              <a:gd name="connsiteY618" fmla="*/ 150172 h 614713"/>
              <a:gd name="connsiteX619" fmla="*/ 226492 w 736968"/>
              <a:gd name="connsiteY619" fmla="*/ 122408 h 614713"/>
              <a:gd name="connsiteX620" fmla="*/ 173055 w 736968"/>
              <a:gd name="connsiteY620" fmla="*/ 262048 h 614713"/>
              <a:gd name="connsiteX621" fmla="*/ 183683 w 736968"/>
              <a:gd name="connsiteY621" fmla="*/ 320369 h 614713"/>
              <a:gd name="connsiteX622" fmla="*/ 184360 w 736968"/>
              <a:gd name="connsiteY622" fmla="*/ 320335 h 614713"/>
              <a:gd name="connsiteX623" fmla="*/ 196197 w 736968"/>
              <a:gd name="connsiteY623" fmla="*/ 318338 h 614713"/>
              <a:gd name="connsiteX624" fmla="*/ 198916 w 736968"/>
              <a:gd name="connsiteY624" fmla="*/ 300241 h 614713"/>
              <a:gd name="connsiteX625" fmla="*/ 211636 w 736968"/>
              <a:gd name="connsiteY625" fmla="*/ 281603 h 614713"/>
              <a:gd name="connsiteX626" fmla="*/ 214552 w 736968"/>
              <a:gd name="connsiteY626" fmla="*/ 283248 h 614713"/>
              <a:gd name="connsiteX627" fmla="*/ 212373 w 736968"/>
              <a:gd name="connsiteY627" fmla="*/ 262048 h 614713"/>
              <a:gd name="connsiteX628" fmla="*/ 173055 w 736968"/>
              <a:gd name="connsiteY628" fmla="*/ 262048 h 614713"/>
              <a:gd name="connsiteX629" fmla="*/ 363051 w 736968"/>
              <a:gd name="connsiteY629" fmla="*/ 462837 h 614713"/>
              <a:gd name="connsiteX630" fmla="*/ 226492 w 736968"/>
              <a:gd name="connsiteY630" fmla="*/ 406230 h 614713"/>
              <a:gd name="connsiteX631" fmla="*/ 198590 w 736968"/>
              <a:gd name="connsiteY631" fmla="*/ 434105 h 614713"/>
              <a:gd name="connsiteX632" fmla="*/ 363051 w 736968"/>
              <a:gd name="connsiteY632" fmla="*/ 502101 h 614713"/>
              <a:gd name="connsiteX633" fmla="*/ 363051 w 736968"/>
              <a:gd name="connsiteY633" fmla="*/ 462837 h 614713"/>
              <a:gd name="connsiteX634" fmla="*/ 363051 w 736968"/>
              <a:gd name="connsiteY634" fmla="*/ 412597 h 614713"/>
              <a:gd name="connsiteX635" fmla="*/ 268735 w 736968"/>
              <a:gd name="connsiteY635" fmla="*/ 376718 h 614713"/>
              <a:gd name="connsiteX636" fmla="*/ 270262 w 736968"/>
              <a:gd name="connsiteY636" fmla="*/ 378827 h 614713"/>
              <a:gd name="connsiteX637" fmla="*/ 274362 w 736968"/>
              <a:gd name="connsiteY637" fmla="*/ 390823 h 614713"/>
              <a:gd name="connsiteX638" fmla="*/ 262431 w 736968"/>
              <a:gd name="connsiteY638" fmla="*/ 391457 h 614713"/>
              <a:gd name="connsiteX639" fmla="*/ 251161 w 736968"/>
              <a:gd name="connsiteY639" fmla="*/ 397002 h 614713"/>
              <a:gd name="connsiteX640" fmla="*/ 241845 w 736968"/>
              <a:gd name="connsiteY640" fmla="*/ 395947 h 614713"/>
              <a:gd name="connsiteX641" fmla="*/ 238680 w 736968"/>
              <a:gd name="connsiteY641" fmla="*/ 394054 h 614713"/>
              <a:gd name="connsiteX642" fmla="*/ 234255 w 736968"/>
              <a:gd name="connsiteY642" fmla="*/ 398475 h 614713"/>
              <a:gd name="connsiteX643" fmla="*/ 363051 w 736968"/>
              <a:gd name="connsiteY643" fmla="*/ 451869 h 614713"/>
              <a:gd name="connsiteX644" fmla="*/ 363051 w 736968"/>
              <a:gd name="connsiteY644" fmla="*/ 412597 h 614713"/>
              <a:gd name="connsiteX645" fmla="*/ 363051 w 736968"/>
              <a:gd name="connsiteY645" fmla="*/ 398792 h 614713"/>
              <a:gd name="connsiteX646" fmla="*/ 347174 w 736968"/>
              <a:gd name="connsiteY646" fmla="*/ 397704 h 614713"/>
              <a:gd name="connsiteX647" fmla="*/ 337576 w 736968"/>
              <a:gd name="connsiteY647" fmla="*/ 389838 h 614713"/>
              <a:gd name="connsiteX648" fmla="*/ 331204 w 736968"/>
              <a:gd name="connsiteY648" fmla="*/ 379289 h 614713"/>
              <a:gd name="connsiteX649" fmla="*/ 335346 w 736968"/>
              <a:gd name="connsiteY649" fmla="*/ 369718 h 614713"/>
              <a:gd name="connsiteX650" fmla="*/ 343238 w 736968"/>
              <a:gd name="connsiteY650" fmla="*/ 359409 h 614713"/>
              <a:gd name="connsiteX651" fmla="*/ 297598 w 736968"/>
              <a:gd name="connsiteY651" fmla="*/ 335193 h 614713"/>
              <a:gd name="connsiteX652" fmla="*/ 269747 w 736968"/>
              <a:gd name="connsiteY652" fmla="*/ 363017 h 614713"/>
              <a:gd name="connsiteX653" fmla="*/ 363051 w 736968"/>
              <a:gd name="connsiteY653" fmla="*/ 401603 h 614713"/>
              <a:gd name="connsiteX654" fmla="*/ 363051 w 736968"/>
              <a:gd name="connsiteY654" fmla="*/ 398792 h 614713"/>
              <a:gd name="connsiteX655" fmla="*/ 371551 w 736968"/>
              <a:gd name="connsiteY655" fmla="*/ 346307 h 614713"/>
              <a:gd name="connsiteX656" fmla="*/ 383954 w 736968"/>
              <a:gd name="connsiteY656" fmla="*/ 344020 h 614713"/>
              <a:gd name="connsiteX657" fmla="*/ 386235 w 736968"/>
              <a:gd name="connsiteY657" fmla="*/ 349726 h 614713"/>
              <a:gd name="connsiteX658" fmla="*/ 402078 w 736968"/>
              <a:gd name="connsiteY658" fmla="*/ 349341 h 614713"/>
              <a:gd name="connsiteX659" fmla="*/ 405526 w 736968"/>
              <a:gd name="connsiteY659" fmla="*/ 345528 h 614713"/>
              <a:gd name="connsiteX660" fmla="*/ 418409 w 736968"/>
              <a:gd name="connsiteY660" fmla="*/ 341466 h 614713"/>
              <a:gd name="connsiteX661" fmla="*/ 423864 w 736968"/>
              <a:gd name="connsiteY661" fmla="*/ 338227 h 614713"/>
              <a:gd name="connsiteX662" fmla="*/ 420253 w 736968"/>
              <a:gd name="connsiteY662" fmla="*/ 329855 h 614713"/>
              <a:gd name="connsiteX663" fmla="*/ 413957 w 736968"/>
              <a:gd name="connsiteY663" fmla="*/ 334123 h 614713"/>
              <a:gd name="connsiteX664" fmla="*/ 407173 w 736968"/>
              <a:gd name="connsiteY664" fmla="*/ 333505 h 614713"/>
              <a:gd name="connsiteX665" fmla="*/ 409729 w 736968"/>
              <a:gd name="connsiteY665" fmla="*/ 327550 h 614713"/>
              <a:gd name="connsiteX666" fmla="*/ 416694 w 736968"/>
              <a:gd name="connsiteY666" fmla="*/ 322460 h 614713"/>
              <a:gd name="connsiteX667" fmla="*/ 422543 w 736968"/>
              <a:gd name="connsiteY667" fmla="*/ 317421 h 614713"/>
              <a:gd name="connsiteX668" fmla="*/ 414369 w 736968"/>
              <a:gd name="connsiteY668" fmla="*/ 316419 h 614713"/>
              <a:gd name="connsiteX669" fmla="*/ 413579 w 736968"/>
              <a:gd name="connsiteY669" fmla="*/ 312948 h 614713"/>
              <a:gd name="connsiteX670" fmla="*/ 412345 w 736968"/>
              <a:gd name="connsiteY670" fmla="*/ 317396 h 614713"/>
              <a:gd name="connsiteX671" fmla="*/ 408194 w 736968"/>
              <a:gd name="connsiteY671" fmla="*/ 318955 h 614713"/>
              <a:gd name="connsiteX672" fmla="*/ 405783 w 736968"/>
              <a:gd name="connsiteY672" fmla="*/ 326462 h 614713"/>
              <a:gd name="connsiteX673" fmla="*/ 406916 w 736968"/>
              <a:gd name="connsiteY673" fmla="*/ 329923 h 614713"/>
              <a:gd name="connsiteX674" fmla="*/ 402918 w 736968"/>
              <a:gd name="connsiteY674" fmla="*/ 331783 h 614713"/>
              <a:gd name="connsiteX675" fmla="*/ 402918 w 736968"/>
              <a:gd name="connsiteY675" fmla="*/ 335956 h 614713"/>
              <a:gd name="connsiteX676" fmla="*/ 401340 w 736968"/>
              <a:gd name="connsiteY676" fmla="*/ 337858 h 614713"/>
              <a:gd name="connsiteX677" fmla="*/ 395920 w 736968"/>
              <a:gd name="connsiteY677" fmla="*/ 334191 h 614713"/>
              <a:gd name="connsiteX678" fmla="*/ 387496 w 736968"/>
              <a:gd name="connsiteY678" fmla="*/ 329949 h 614713"/>
              <a:gd name="connsiteX679" fmla="*/ 390095 w 736968"/>
              <a:gd name="connsiteY679" fmla="*/ 334328 h 614713"/>
              <a:gd name="connsiteX680" fmla="*/ 393106 w 736968"/>
              <a:gd name="connsiteY680" fmla="*/ 338749 h 614713"/>
              <a:gd name="connsiteX681" fmla="*/ 386844 w 736968"/>
              <a:gd name="connsiteY681" fmla="*/ 335528 h 614713"/>
              <a:gd name="connsiteX682" fmla="*/ 380471 w 736968"/>
              <a:gd name="connsiteY682" fmla="*/ 332794 h 614713"/>
              <a:gd name="connsiteX683" fmla="*/ 375685 w 736968"/>
              <a:gd name="connsiteY683" fmla="*/ 334756 h 614713"/>
              <a:gd name="connsiteX684" fmla="*/ 371088 w 736968"/>
              <a:gd name="connsiteY684" fmla="*/ 338081 h 614713"/>
              <a:gd name="connsiteX685" fmla="*/ 366216 w 736968"/>
              <a:gd name="connsiteY685" fmla="*/ 344885 h 614713"/>
              <a:gd name="connsiteX686" fmla="*/ 355083 w 736968"/>
              <a:gd name="connsiteY686" fmla="*/ 341612 h 614713"/>
              <a:gd name="connsiteX687" fmla="*/ 357768 w 736968"/>
              <a:gd name="connsiteY687" fmla="*/ 333788 h 614713"/>
              <a:gd name="connsiteX688" fmla="*/ 365453 w 736968"/>
              <a:gd name="connsiteY688" fmla="*/ 334808 h 614713"/>
              <a:gd name="connsiteX689" fmla="*/ 365847 w 736968"/>
              <a:gd name="connsiteY689" fmla="*/ 328758 h 614713"/>
              <a:gd name="connsiteX690" fmla="*/ 363368 w 736968"/>
              <a:gd name="connsiteY690" fmla="*/ 326479 h 614713"/>
              <a:gd name="connsiteX691" fmla="*/ 369338 w 736968"/>
              <a:gd name="connsiteY691" fmla="*/ 323994 h 614713"/>
              <a:gd name="connsiteX692" fmla="*/ 374502 w 736968"/>
              <a:gd name="connsiteY692" fmla="*/ 318295 h 614713"/>
              <a:gd name="connsiteX693" fmla="*/ 377924 w 736968"/>
              <a:gd name="connsiteY693" fmla="*/ 316444 h 614713"/>
              <a:gd name="connsiteX694" fmla="*/ 376586 w 736968"/>
              <a:gd name="connsiteY694" fmla="*/ 312391 h 614713"/>
              <a:gd name="connsiteX695" fmla="*/ 378139 w 736968"/>
              <a:gd name="connsiteY695" fmla="*/ 310292 h 614713"/>
              <a:gd name="connsiteX696" fmla="*/ 379614 w 736968"/>
              <a:gd name="connsiteY696" fmla="*/ 313771 h 614713"/>
              <a:gd name="connsiteX697" fmla="*/ 381407 w 736968"/>
              <a:gd name="connsiteY697" fmla="*/ 315245 h 614713"/>
              <a:gd name="connsiteX698" fmla="*/ 388680 w 736968"/>
              <a:gd name="connsiteY698" fmla="*/ 312554 h 614713"/>
              <a:gd name="connsiteX699" fmla="*/ 388818 w 736968"/>
              <a:gd name="connsiteY699" fmla="*/ 307198 h 614713"/>
              <a:gd name="connsiteX700" fmla="*/ 390619 w 736968"/>
              <a:gd name="connsiteY700" fmla="*/ 306718 h 614713"/>
              <a:gd name="connsiteX701" fmla="*/ 389521 w 736968"/>
              <a:gd name="connsiteY701" fmla="*/ 303822 h 614713"/>
              <a:gd name="connsiteX702" fmla="*/ 393278 w 736968"/>
              <a:gd name="connsiteY702" fmla="*/ 300523 h 614713"/>
              <a:gd name="connsiteX703" fmla="*/ 389092 w 736968"/>
              <a:gd name="connsiteY703" fmla="*/ 302631 h 614713"/>
              <a:gd name="connsiteX704" fmla="*/ 385583 w 736968"/>
              <a:gd name="connsiteY704" fmla="*/ 299066 h 614713"/>
              <a:gd name="connsiteX705" fmla="*/ 385789 w 736968"/>
              <a:gd name="connsiteY705" fmla="*/ 294002 h 614713"/>
              <a:gd name="connsiteX706" fmla="*/ 383680 w 736968"/>
              <a:gd name="connsiteY706" fmla="*/ 297961 h 614713"/>
              <a:gd name="connsiteX707" fmla="*/ 384031 w 736968"/>
              <a:gd name="connsiteY707" fmla="*/ 303985 h 614713"/>
              <a:gd name="connsiteX708" fmla="*/ 382642 w 736968"/>
              <a:gd name="connsiteY708" fmla="*/ 312425 h 614713"/>
              <a:gd name="connsiteX709" fmla="*/ 378877 w 736968"/>
              <a:gd name="connsiteY709" fmla="*/ 307824 h 614713"/>
              <a:gd name="connsiteX710" fmla="*/ 378388 w 736968"/>
              <a:gd name="connsiteY710" fmla="*/ 307267 h 614713"/>
              <a:gd name="connsiteX711" fmla="*/ 378336 w 736968"/>
              <a:gd name="connsiteY711" fmla="*/ 307241 h 614713"/>
              <a:gd name="connsiteX712" fmla="*/ 378096 w 736968"/>
              <a:gd name="connsiteY712" fmla="*/ 307198 h 614713"/>
              <a:gd name="connsiteX713" fmla="*/ 378087 w 736968"/>
              <a:gd name="connsiteY713" fmla="*/ 307198 h 614713"/>
              <a:gd name="connsiteX714" fmla="*/ 377830 w 736968"/>
              <a:gd name="connsiteY714" fmla="*/ 307327 h 614713"/>
              <a:gd name="connsiteX715" fmla="*/ 377761 w 736968"/>
              <a:gd name="connsiteY715" fmla="*/ 307387 h 614713"/>
              <a:gd name="connsiteX716" fmla="*/ 377478 w 736968"/>
              <a:gd name="connsiteY716" fmla="*/ 307729 h 614713"/>
              <a:gd name="connsiteX717" fmla="*/ 376870 w 736968"/>
              <a:gd name="connsiteY717" fmla="*/ 308749 h 614713"/>
              <a:gd name="connsiteX718" fmla="*/ 376063 w 736968"/>
              <a:gd name="connsiteY718" fmla="*/ 310669 h 614713"/>
              <a:gd name="connsiteX719" fmla="*/ 374665 w 736968"/>
              <a:gd name="connsiteY719" fmla="*/ 311903 h 614713"/>
              <a:gd name="connsiteX720" fmla="*/ 368541 w 736968"/>
              <a:gd name="connsiteY720" fmla="*/ 312262 h 614713"/>
              <a:gd name="connsiteX721" fmla="*/ 366156 w 736968"/>
              <a:gd name="connsiteY721" fmla="*/ 312211 h 614713"/>
              <a:gd name="connsiteX722" fmla="*/ 367297 w 736968"/>
              <a:gd name="connsiteY722" fmla="*/ 315648 h 614713"/>
              <a:gd name="connsiteX723" fmla="*/ 370119 w 736968"/>
              <a:gd name="connsiteY723" fmla="*/ 320883 h 614713"/>
              <a:gd name="connsiteX724" fmla="*/ 362879 w 736968"/>
              <a:gd name="connsiteY724" fmla="*/ 322674 h 614713"/>
              <a:gd name="connsiteX725" fmla="*/ 364303 w 736968"/>
              <a:gd name="connsiteY725" fmla="*/ 317241 h 614713"/>
              <a:gd name="connsiteX726" fmla="*/ 362965 w 736968"/>
              <a:gd name="connsiteY726" fmla="*/ 311980 h 614713"/>
              <a:gd name="connsiteX727" fmla="*/ 333211 w 736968"/>
              <a:gd name="connsiteY727" fmla="*/ 299615 h 614713"/>
              <a:gd name="connsiteX728" fmla="*/ 305369 w 736968"/>
              <a:gd name="connsiteY728" fmla="*/ 327430 h 614713"/>
              <a:gd name="connsiteX729" fmla="*/ 355452 w 736968"/>
              <a:gd name="connsiteY729" fmla="*/ 350609 h 614713"/>
              <a:gd name="connsiteX730" fmla="*/ 361379 w 736968"/>
              <a:gd name="connsiteY730" fmla="*/ 347618 h 614713"/>
              <a:gd name="connsiteX731" fmla="*/ 371552 w 736968"/>
              <a:gd name="connsiteY731" fmla="*/ 346307 h 614713"/>
              <a:gd name="connsiteX732" fmla="*/ 374030 w 736968"/>
              <a:gd name="connsiteY732" fmla="*/ 412589 h 614713"/>
              <a:gd name="connsiteX733" fmla="*/ 374030 w 736968"/>
              <a:gd name="connsiteY733" fmla="*/ 451869 h 614713"/>
              <a:gd name="connsiteX734" fmla="*/ 420176 w 736968"/>
              <a:gd name="connsiteY734" fmla="*/ 445022 h 614713"/>
              <a:gd name="connsiteX735" fmla="*/ 411908 w 736968"/>
              <a:gd name="connsiteY735" fmla="*/ 436890 h 614713"/>
              <a:gd name="connsiteX736" fmla="*/ 407147 w 736968"/>
              <a:gd name="connsiteY736" fmla="*/ 424799 h 614713"/>
              <a:gd name="connsiteX737" fmla="*/ 406066 w 736968"/>
              <a:gd name="connsiteY737" fmla="*/ 417061 h 614713"/>
              <a:gd name="connsiteX738" fmla="*/ 397257 w 736968"/>
              <a:gd name="connsiteY738" fmla="*/ 410009 h 614713"/>
              <a:gd name="connsiteX739" fmla="*/ 374030 w 736968"/>
              <a:gd name="connsiteY739" fmla="*/ 412589 h 614713"/>
              <a:gd name="connsiteX740" fmla="*/ 392901 w 736968"/>
              <a:gd name="connsiteY740" fmla="*/ 399667 h 614713"/>
              <a:gd name="connsiteX741" fmla="*/ 387162 w 736968"/>
              <a:gd name="connsiteY741" fmla="*/ 398672 h 614713"/>
              <a:gd name="connsiteX742" fmla="*/ 374030 w 736968"/>
              <a:gd name="connsiteY742" fmla="*/ 396624 h 614713"/>
              <a:gd name="connsiteX743" fmla="*/ 374030 w 736968"/>
              <a:gd name="connsiteY743" fmla="*/ 401620 h 614713"/>
              <a:gd name="connsiteX744" fmla="*/ 392901 w 736968"/>
              <a:gd name="connsiteY744" fmla="*/ 399667 h 614713"/>
              <a:gd name="connsiteX745" fmla="*/ 538481 w 736968"/>
              <a:gd name="connsiteY745" fmla="*/ 434105 h 614713"/>
              <a:gd name="connsiteX746" fmla="*/ 510579 w 736968"/>
              <a:gd name="connsiteY746" fmla="*/ 406230 h 614713"/>
              <a:gd name="connsiteX747" fmla="*/ 462016 w 736968"/>
              <a:gd name="connsiteY747" fmla="*/ 440532 h 614713"/>
              <a:gd name="connsiteX748" fmla="*/ 443532 w 736968"/>
              <a:gd name="connsiteY748" fmla="*/ 450643 h 614713"/>
              <a:gd name="connsiteX749" fmla="*/ 436215 w 736968"/>
              <a:gd name="connsiteY749" fmla="*/ 453017 h 614713"/>
              <a:gd name="connsiteX750" fmla="*/ 433943 w 736968"/>
              <a:gd name="connsiteY750" fmla="*/ 452298 h 614713"/>
              <a:gd name="connsiteX751" fmla="*/ 374030 w 736968"/>
              <a:gd name="connsiteY751" fmla="*/ 462837 h 614713"/>
              <a:gd name="connsiteX752" fmla="*/ 374030 w 736968"/>
              <a:gd name="connsiteY752" fmla="*/ 502101 h 614713"/>
              <a:gd name="connsiteX753" fmla="*/ 538481 w 736968"/>
              <a:gd name="connsiteY753" fmla="*/ 434105 h 614713"/>
              <a:gd name="connsiteX754" fmla="*/ 483477 w 736968"/>
              <a:gd name="connsiteY754" fmla="*/ 150112 h 614713"/>
              <a:gd name="connsiteX755" fmla="*/ 483159 w 736968"/>
              <a:gd name="connsiteY755" fmla="*/ 150566 h 614713"/>
              <a:gd name="connsiteX756" fmla="*/ 500590 w 736968"/>
              <a:gd name="connsiteY756" fmla="*/ 173205 h 614713"/>
              <a:gd name="connsiteX757" fmla="*/ 502491 w 736968"/>
              <a:gd name="connsiteY757" fmla="*/ 172717 h 614713"/>
              <a:gd name="connsiteX758" fmla="*/ 505158 w 736968"/>
              <a:gd name="connsiteY758" fmla="*/ 176427 h 614713"/>
              <a:gd name="connsiteX759" fmla="*/ 505124 w 736968"/>
              <a:gd name="connsiteY759" fmla="*/ 180840 h 614713"/>
              <a:gd name="connsiteX760" fmla="*/ 508780 w 736968"/>
              <a:gd name="connsiteY760" fmla="*/ 187789 h 614713"/>
              <a:gd name="connsiteX761" fmla="*/ 511549 w 736968"/>
              <a:gd name="connsiteY761" fmla="*/ 190172 h 614713"/>
              <a:gd name="connsiteX762" fmla="*/ 513779 w 736968"/>
              <a:gd name="connsiteY762" fmla="*/ 199041 h 614713"/>
              <a:gd name="connsiteX763" fmla="*/ 518944 w 736968"/>
              <a:gd name="connsiteY763" fmla="*/ 214225 h 614713"/>
              <a:gd name="connsiteX764" fmla="*/ 523487 w 736968"/>
              <a:gd name="connsiteY764" fmla="*/ 216324 h 614713"/>
              <a:gd name="connsiteX765" fmla="*/ 521552 w 736968"/>
              <a:gd name="connsiteY765" fmla="*/ 224928 h 614713"/>
              <a:gd name="connsiteX766" fmla="*/ 524714 w 736968"/>
              <a:gd name="connsiteY766" fmla="*/ 251080 h 614713"/>
              <a:gd name="connsiteX767" fmla="*/ 564026 w 736968"/>
              <a:gd name="connsiteY767" fmla="*/ 251080 h 614713"/>
              <a:gd name="connsiteX768" fmla="*/ 547393 w 736968"/>
              <a:gd name="connsiteY768" fmla="*/ 177396 h 614713"/>
              <a:gd name="connsiteX769" fmla="*/ 544246 w 736968"/>
              <a:gd name="connsiteY769" fmla="*/ 179744 h 614713"/>
              <a:gd name="connsiteX770" fmla="*/ 537273 w 736968"/>
              <a:gd name="connsiteY770" fmla="*/ 176924 h 614713"/>
              <a:gd name="connsiteX771" fmla="*/ 522736 w 736968"/>
              <a:gd name="connsiteY771" fmla="*/ 160866 h 614713"/>
              <a:gd name="connsiteX772" fmla="*/ 514570 w 736968"/>
              <a:gd name="connsiteY772" fmla="*/ 155973 h 614713"/>
              <a:gd name="connsiteX773" fmla="*/ 507185 w 736968"/>
              <a:gd name="connsiteY773" fmla="*/ 150386 h 614713"/>
              <a:gd name="connsiteX774" fmla="*/ 502045 w 736968"/>
              <a:gd name="connsiteY774" fmla="*/ 145176 h 614713"/>
              <a:gd name="connsiteX775" fmla="*/ 492797 w 736968"/>
              <a:gd name="connsiteY775" fmla="*/ 140180 h 614713"/>
              <a:gd name="connsiteX776" fmla="*/ 483391 w 736968"/>
              <a:gd name="connsiteY776" fmla="*/ 149581 h 614713"/>
              <a:gd name="connsiteX777" fmla="*/ 483477 w 736968"/>
              <a:gd name="connsiteY777" fmla="*/ 150112 h 614713"/>
              <a:gd name="connsiteX778" fmla="*/ 508426 w 736968"/>
              <a:gd name="connsiteY778" fmla="*/ 388570 h 614713"/>
              <a:gd name="connsiteX779" fmla="*/ 510579 w 736968"/>
              <a:gd name="connsiteY779" fmla="*/ 390720 h 614713"/>
              <a:gd name="connsiteX780" fmla="*/ 564026 w 736968"/>
              <a:gd name="connsiteY780" fmla="*/ 262048 h 614713"/>
              <a:gd name="connsiteX781" fmla="*/ 524714 w 736968"/>
              <a:gd name="connsiteY781" fmla="*/ 262048 h 614713"/>
              <a:gd name="connsiteX782" fmla="*/ 482799 w 736968"/>
              <a:gd name="connsiteY782" fmla="*/ 362966 h 614713"/>
              <a:gd name="connsiteX783" fmla="*/ 496987 w 736968"/>
              <a:gd name="connsiteY783" fmla="*/ 377138 h 614713"/>
              <a:gd name="connsiteX784" fmla="*/ 497278 w 736968"/>
              <a:gd name="connsiteY784" fmla="*/ 376547 h 614713"/>
              <a:gd name="connsiteX785" fmla="*/ 498141 w 736968"/>
              <a:gd name="connsiteY785" fmla="*/ 368535 h 614713"/>
              <a:gd name="connsiteX786" fmla="*/ 504062 w 736968"/>
              <a:gd name="connsiteY786" fmla="*/ 369863 h 614713"/>
              <a:gd name="connsiteX787" fmla="*/ 507340 w 736968"/>
              <a:gd name="connsiteY787" fmla="*/ 378613 h 614713"/>
              <a:gd name="connsiteX788" fmla="*/ 508426 w 736968"/>
              <a:gd name="connsiteY788" fmla="*/ 388570 h 614713"/>
              <a:gd name="connsiteX789" fmla="*/ 478578 w 736968"/>
              <a:gd name="connsiteY789" fmla="*/ 413077 h 614713"/>
              <a:gd name="connsiteX790" fmla="*/ 473193 w 736968"/>
              <a:gd name="connsiteY790" fmla="*/ 421535 h 614713"/>
              <a:gd name="connsiteX791" fmla="*/ 502825 w 736968"/>
              <a:gd name="connsiteY791" fmla="*/ 398475 h 614713"/>
              <a:gd name="connsiteX792" fmla="*/ 475036 w 736968"/>
              <a:gd name="connsiteY792" fmla="*/ 370720 h 614713"/>
              <a:gd name="connsiteX793" fmla="*/ 469067 w 736968"/>
              <a:gd name="connsiteY793" fmla="*/ 375982 h 614713"/>
              <a:gd name="connsiteX794" fmla="*/ 472935 w 736968"/>
              <a:gd name="connsiteY794" fmla="*/ 382863 h 614713"/>
              <a:gd name="connsiteX795" fmla="*/ 482713 w 736968"/>
              <a:gd name="connsiteY795" fmla="*/ 392606 h 614713"/>
              <a:gd name="connsiteX796" fmla="*/ 474942 w 736968"/>
              <a:gd name="connsiteY796" fmla="*/ 405587 h 614713"/>
              <a:gd name="connsiteX797" fmla="*/ 478578 w 736968"/>
              <a:gd name="connsiteY797" fmla="*/ 413077 h 614713"/>
              <a:gd name="connsiteX798" fmla="*/ 485063 w 736968"/>
              <a:gd name="connsiteY798" fmla="*/ 250583 h 614713"/>
              <a:gd name="connsiteX799" fmla="*/ 484780 w 736968"/>
              <a:gd name="connsiteY799" fmla="*/ 251080 h 614713"/>
              <a:gd name="connsiteX800" fmla="*/ 513726 w 736968"/>
              <a:gd name="connsiteY800" fmla="*/ 251080 h 614713"/>
              <a:gd name="connsiteX801" fmla="*/ 512727 w 736968"/>
              <a:gd name="connsiteY801" fmla="*/ 238689 h 614713"/>
              <a:gd name="connsiteX802" fmla="*/ 512048 w 736968"/>
              <a:gd name="connsiteY802" fmla="*/ 239966 h 614713"/>
              <a:gd name="connsiteX803" fmla="*/ 509716 w 736968"/>
              <a:gd name="connsiteY803" fmla="*/ 239795 h 614713"/>
              <a:gd name="connsiteX804" fmla="*/ 511801 w 736968"/>
              <a:gd name="connsiteY804" fmla="*/ 232417 h 614713"/>
              <a:gd name="connsiteX805" fmla="*/ 511069 w 736968"/>
              <a:gd name="connsiteY805" fmla="*/ 228441 h 614713"/>
              <a:gd name="connsiteX806" fmla="*/ 506986 w 736968"/>
              <a:gd name="connsiteY806" fmla="*/ 231526 h 614713"/>
              <a:gd name="connsiteX807" fmla="*/ 504028 w 736968"/>
              <a:gd name="connsiteY807" fmla="*/ 236333 h 614713"/>
              <a:gd name="connsiteX808" fmla="*/ 497671 w 736968"/>
              <a:gd name="connsiteY808" fmla="*/ 237267 h 614713"/>
              <a:gd name="connsiteX809" fmla="*/ 491735 w 736968"/>
              <a:gd name="connsiteY809" fmla="*/ 244559 h 614713"/>
              <a:gd name="connsiteX810" fmla="*/ 485063 w 736968"/>
              <a:gd name="connsiteY810" fmla="*/ 250583 h 614713"/>
              <a:gd name="connsiteX811" fmla="*/ 475036 w 736968"/>
              <a:gd name="connsiteY811" fmla="*/ 157926 h 614713"/>
              <a:gd name="connsiteX812" fmla="*/ 447246 w 736968"/>
              <a:gd name="connsiteY812" fmla="*/ 185690 h 614713"/>
              <a:gd name="connsiteX813" fmla="*/ 459914 w 736968"/>
              <a:gd name="connsiteY813" fmla="*/ 202948 h 614713"/>
              <a:gd name="connsiteX814" fmla="*/ 470516 w 736968"/>
              <a:gd name="connsiteY814" fmla="*/ 208458 h 614713"/>
              <a:gd name="connsiteX815" fmla="*/ 477515 w 736968"/>
              <a:gd name="connsiteY815" fmla="*/ 218672 h 614713"/>
              <a:gd name="connsiteX816" fmla="*/ 479531 w 736968"/>
              <a:gd name="connsiteY816" fmla="*/ 222836 h 614713"/>
              <a:gd name="connsiteX817" fmla="*/ 484154 w 736968"/>
              <a:gd name="connsiteY817" fmla="*/ 222803 h 614713"/>
              <a:gd name="connsiteX818" fmla="*/ 489214 w 736968"/>
              <a:gd name="connsiteY818" fmla="*/ 214430 h 614713"/>
              <a:gd name="connsiteX819" fmla="*/ 499353 w 736968"/>
              <a:gd name="connsiteY819" fmla="*/ 221054 h 614713"/>
              <a:gd name="connsiteX820" fmla="*/ 497079 w 736968"/>
              <a:gd name="connsiteY820" fmla="*/ 225416 h 614713"/>
              <a:gd name="connsiteX821" fmla="*/ 496808 w 736968"/>
              <a:gd name="connsiteY821" fmla="*/ 234293 h 614713"/>
              <a:gd name="connsiteX822" fmla="*/ 504843 w 736968"/>
              <a:gd name="connsiteY822" fmla="*/ 230523 h 614713"/>
              <a:gd name="connsiteX823" fmla="*/ 506899 w 736968"/>
              <a:gd name="connsiteY823" fmla="*/ 224687 h 614713"/>
              <a:gd name="connsiteX824" fmla="*/ 509784 w 736968"/>
              <a:gd name="connsiteY824" fmla="*/ 222579 h 614713"/>
              <a:gd name="connsiteX825" fmla="*/ 502336 w 736968"/>
              <a:gd name="connsiteY825" fmla="*/ 199992 h 614713"/>
              <a:gd name="connsiteX826" fmla="*/ 499669 w 736968"/>
              <a:gd name="connsiteY826" fmla="*/ 198329 h 614713"/>
              <a:gd name="connsiteX827" fmla="*/ 496541 w 736968"/>
              <a:gd name="connsiteY827" fmla="*/ 195399 h 614713"/>
              <a:gd name="connsiteX828" fmla="*/ 492550 w 736968"/>
              <a:gd name="connsiteY828" fmla="*/ 189057 h 614713"/>
              <a:gd name="connsiteX829" fmla="*/ 496619 w 736968"/>
              <a:gd name="connsiteY829" fmla="*/ 189649 h 614713"/>
              <a:gd name="connsiteX830" fmla="*/ 497123 w 736968"/>
              <a:gd name="connsiteY830" fmla="*/ 189024 h 614713"/>
              <a:gd name="connsiteX831" fmla="*/ 475036 w 736968"/>
              <a:gd name="connsiteY831" fmla="*/ 157926 h 614713"/>
              <a:gd name="connsiteX832" fmla="*/ 441319 w 736968"/>
              <a:gd name="connsiteY832" fmla="*/ 195622 h 614713"/>
              <a:gd name="connsiteX833" fmla="*/ 437949 w 736968"/>
              <a:gd name="connsiteY833" fmla="*/ 194979 h 614713"/>
              <a:gd name="connsiteX834" fmla="*/ 428762 w 736968"/>
              <a:gd name="connsiteY834" fmla="*/ 204148 h 614713"/>
              <a:gd name="connsiteX835" fmla="*/ 434663 w 736968"/>
              <a:gd name="connsiteY835" fmla="*/ 204945 h 614713"/>
              <a:gd name="connsiteX836" fmla="*/ 439654 w 736968"/>
              <a:gd name="connsiteY836" fmla="*/ 198844 h 614713"/>
              <a:gd name="connsiteX837" fmla="*/ 441293 w 736968"/>
              <a:gd name="connsiteY837" fmla="*/ 203214 h 614713"/>
              <a:gd name="connsiteX838" fmla="*/ 438857 w 736968"/>
              <a:gd name="connsiteY838" fmla="*/ 207181 h 614713"/>
              <a:gd name="connsiteX839" fmla="*/ 441079 w 736968"/>
              <a:gd name="connsiteY839" fmla="*/ 211689 h 614713"/>
              <a:gd name="connsiteX840" fmla="*/ 442914 w 736968"/>
              <a:gd name="connsiteY840" fmla="*/ 215510 h 614713"/>
              <a:gd name="connsiteX841" fmla="*/ 443789 w 736968"/>
              <a:gd name="connsiteY841" fmla="*/ 209863 h 614713"/>
              <a:gd name="connsiteX842" fmla="*/ 448678 w 736968"/>
              <a:gd name="connsiteY842" fmla="*/ 210352 h 614713"/>
              <a:gd name="connsiteX843" fmla="*/ 450231 w 736968"/>
              <a:gd name="connsiteY843" fmla="*/ 208158 h 614713"/>
              <a:gd name="connsiteX844" fmla="*/ 441319 w 736968"/>
              <a:gd name="connsiteY844" fmla="*/ 195622 h 614713"/>
              <a:gd name="connsiteX845" fmla="*/ 426995 w 736968"/>
              <a:gd name="connsiteY845" fmla="*/ 341397 h 614713"/>
              <a:gd name="connsiteX846" fmla="*/ 424524 w 736968"/>
              <a:gd name="connsiteY846" fmla="*/ 342442 h 614713"/>
              <a:gd name="connsiteX847" fmla="*/ 442503 w 736968"/>
              <a:gd name="connsiteY847" fmla="*/ 351020 h 614713"/>
              <a:gd name="connsiteX848" fmla="*/ 453319 w 736968"/>
              <a:gd name="connsiteY848" fmla="*/ 351380 h 614713"/>
              <a:gd name="connsiteX849" fmla="*/ 460112 w 736968"/>
              <a:gd name="connsiteY849" fmla="*/ 352331 h 614713"/>
              <a:gd name="connsiteX850" fmla="*/ 465884 w 736968"/>
              <a:gd name="connsiteY850" fmla="*/ 346590 h 614713"/>
              <a:gd name="connsiteX851" fmla="*/ 470164 w 736968"/>
              <a:gd name="connsiteY851" fmla="*/ 339272 h 614713"/>
              <a:gd name="connsiteX852" fmla="*/ 474925 w 736968"/>
              <a:gd name="connsiteY852" fmla="*/ 352323 h 614713"/>
              <a:gd name="connsiteX853" fmla="*/ 474616 w 736968"/>
              <a:gd name="connsiteY853" fmla="*/ 354791 h 614713"/>
              <a:gd name="connsiteX854" fmla="*/ 475036 w 736968"/>
              <a:gd name="connsiteY854" fmla="*/ 355211 h 614713"/>
              <a:gd name="connsiteX855" fmla="*/ 513726 w 736968"/>
              <a:gd name="connsiteY855" fmla="*/ 262048 h 614713"/>
              <a:gd name="connsiteX856" fmla="*/ 483845 w 736968"/>
              <a:gd name="connsiteY856" fmla="*/ 262048 h 614713"/>
              <a:gd name="connsiteX857" fmla="*/ 488535 w 736968"/>
              <a:gd name="connsiteY857" fmla="*/ 269811 h 614713"/>
              <a:gd name="connsiteX858" fmla="*/ 493476 w 736968"/>
              <a:gd name="connsiteY858" fmla="*/ 278081 h 614713"/>
              <a:gd name="connsiteX859" fmla="*/ 501899 w 736968"/>
              <a:gd name="connsiteY859" fmla="*/ 284696 h 614713"/>
              <a:gd name="connsiteX860" fmla="*/ 481246 w 736968"/>
              <a:gd name="connsiteY860" fmla="*/ 291320 h 614713"/>
              <a:gd name="connsiteX861" fmla="*/ 477713 w 736968"/>
              <a:gd name="connsiteY861" fmla="*/ 293736 h 614713"/>
              <a:gd name="connsiteX862" fmla="*/ 468474 w 736968"/>
              <a:gd name="connsiteY862" fmla="*/ 299555 h 614713"/>
              <a:gd name="connsiteX863" fmla="*/ 463346 w 736968"/>
              <a:gd name="connsiteY863" fmla="*/ 309537 h 614713"/>
              <a:gd name="connsiteX864" fmla="*/ 453507 w 736968"/>
              <a:gd name="connsiteY864" fmla="*/ 319135 h 614713"/>
              <a:gd name="connsiteX865" fmla="*/ 444527 w 736968"/>
              <a:gd name="connsiteY865" fmla="*/ 324439 h 614713"/>
              <a:gd name="connsiteX866" fmla="*/ 452666 w 736968"/>
              <a:gd name="connsiteY866" fmla="*/ 324971 h 614713"/>
              <a:gd name="connsiteX867" fmla="*/ 454185 w 736968"/>
              <a:gd name="connsiteY867" fmla="*/ 324516 h 614713"/>
              <a:gd name="connsiteX868" fmla="*/ 457839 w 736968"/>
              <a:gd name="connsiteY868" fmla="*/ 321663 h 614713"/>
              <a:gd name="connsiteX869" fmla="*/ 459031 w 736968"/>
              <a:gd name="connsiteY869" fmla="*/ 316907 h 614713"/>
              <a:gd name="connsiteX870" fmla="*/ 465807 w 736968"/>
              <a:gd name="connsiteY870" fmla="*/ 314062 h 614713"/>
              <a:gd name="connsiteX871" fmla="*/ 467814 w 736968"/>
              <a:gd name="connsiteY871" fmla="*/ 327858 h 614713"/>
              <a:gd name="connsiteX872" fmla="*/ 459511 w 736968"/>
              <a:gd name="connsiteY872" fmla="*/ 348278 h 614713"/>
              <a:gd name="connsiteX873" fmla="*/ 452521 w 736968"/>
              <a:gd name="connsiteY873" fmla="*/ 347644 h 614713"/>
              <a:gd name="connsiteX874" fmla="*/ 439818 w 736968"/>
              <a:gd name="connsiteY874" fmla="*/ 344662 h 614713"/>
              <a:gd name="connsiteX875" fmla="*/ 426995 w 736968"/>
              <a:gd name="connsiteY875" fmla="*/ 341397 h 614713"/>
              <a:gd name="connsiteX876" fmla="*/ 614306 w 736968"/>
              <a:gd name="connsiteY876" fmla="*/ 262048 h 614713"/>
              <a:gd name="connsiteX877" fmla="*/ 575014 w 736968"/>
              <a:gd name="connsiteY877" fmla="*/ 262048 h 614713"/>
              <a:gd name="connsiteX878" fmla="*/ 518342 w 736968"/>
              <a:gd name="connsiteY878" fmla="*/ 398475 h 614713"/>
              <a:gd name="connsiteX879" fmla="*/ 546244 w 736968"/>
              <a:gd name="connsiteY879" fmla="*/ 426350 h 614713"/>
              <a:gd name="connsiteX880" fmla="*/ 614306 w 736968"/>
              <a:gd name="connsiteY880" fmla="*/ 262048 h 614713"/>
              <a:gd name="connsiteX881" fmla="*/ 546244 w 736968"/>
              <a:gd name="connsiteY881" fmla="*/ 86787 h 614713"/>
              <a:gd name="connsiteX882" fmla="*/ 517135 w 736968"/>
              <a:gd name="connsiteY882" fmla="*/ 115870 h 614713"/>
              <a:gd name="connsiteX883" fmla="*/ 531876 w 736968"/>
              <a:gd name="connsiteY883" fmla="*/ 133556 h 614713"/>
              <a:gd name="connsiteX884" fmla="*/ 540440 w 736968"/>
              <a:gd name="connsiteY884" fmla="*/ 142022 h 614713"/>
              <a:gd name="connsiteX885" fmla="*/ 555724 w 736968"/>
              <a:gd name="connsiteY885" fmla="*/ 167112 h 614713"/>
              <a:gd name="connsiteX886" fmla="*/ 555021 w 736968"/>
              <a:gd name="connsiteY886" fmla="*/ 167721 h 614713"/>
              <a:gd name="connsiteX887" fmla="*/ 575004 w 736968"/>
              <a:gd name="connsiteY887" fmla="*/ 251080 h 614713"/>
              <a:gd name="connsiteX888" fmla="*/ 614306 w 736968"/>
              <a:gd name="connsiteY888" fmla="*/ 251080 h 614713"/>
              <a:gd name="connsiteX889" fmla="*/ 546244 w 736968"/>
              <a:gd name="connsiteY889" fmla="*/ 86787 h 614713"/>
              <a:gd name="connsiteX890" fmla="*/ 374030 w 736968"/>
              <a:gd name="connsiteY890" fmla="*/ 50292 h 614713"/>
              <a:gd name="connsiteX891" fmla="*/ 466605 w 736968"/>
              <a:gd name="connsiteY891" fmla="*/ 74824 h 614713"/>
              <a:gd name="connsiteX892" fmla="*/ 473578 w 736968"/>
              <a:gd name="connsiteY892" fmla="*/ 73274 h 614713"/>
              <a:gd name="connsiteX893" fmla="*/ 487274 w 736968"/>
              <a:gd name="connsiteY893" fmla="*/ 77275 h 614713"/>
              <a:gd name="connsiteX894" fmla="*/ 495983 w 736968"/>
              <a:gd name="connsiteY894" fmla="*/ 83479 h 614713"/>
              <a:gd name="connsiteX895" fmla="*/ 506060 w 736968"/>
              <a:gd name="connsiteY895" fmla="*/ 96401 h 614713"/>
              <a:gd name="connsiteX896" fmla="*/ 509027 w 736968"/>
              <a:gd name="connsiteY896" fmla="*/ 103788 h 614713"/>
              <a:gd name="connsiteX897" fmla="*/ 511166 w 736968"/>
              <a:gd name="connsiteY897" fmla="*/ 106324 h 614713"/>
              <a:gd name="connsiteX898" fmla="*/ 538490 w 736968"/>
              <a:gd name="connsiteY898" fmla="*/ 79032 h 614713"/>
              <a:gd name="connsiteX899" fmla="*/ 374030 w 736968"/>
              <a:gd name="connsiteY899" fmla="*/ 11037 h 614713"/>
              <a:gd name="connsiteX900" fmla="*/ 374030 w 736968"/>
              <a:gd name="connsiteY900" fmla="*/ 50292 h 614713"/>
              <a:gd name="connsiteX901" fmla="*/ 374030 w 736968"/>
              <a:gd name="connsiteY901" fmla="*/ 100540 h 614713"/>
              <a:gd name="connsiteX902" fmla="*/ 462994 w 736968"/>
              <a:gd name="connsiteY902" fmla="*/ 132306 h 614713"/>
              <a:gd name="connsiteX903" fmla="*/ 456011 w 736968"/>
              <a:gd name="connsiteY903" fmla="*/ 123325 h 614713"/>
              <a:gd name="connsiteX904" fmla="*/ 445488 w 736968"/>
              <a:gd name="connsiteY904" fmla="*/ 116144 h 614713"/>
              <a:gd name="connsiteX905" fmla="*/ 455823 w 736968"/>
              <a:gd name="connsiteY905" fmla="*/ 119948 h 614713"/>
              <a:gd name="connsiteX906" fmla="*/ 452221 w 736968"/>
              <a:gd name="connsiteY906" fmla="*/ 110960 h 614713"/>
              <a:gd name="connsiteX907" fmla="*/ 462916 w 736968"/>
              <a:gd name="connsiteY907" fmla="*/ 122974 h 614713"/>
              <a:gd name="connsiteX908" fmla="*/ 470868 w 736968"/>
              <a:gd name="connsiteY908" fmla="*/ 125990 h 614713"/>
              <a:gd name="connsiteX909" fmla="*/ 475697 w 736968"/>
              <a:gd name="connsiteY909" fmla="*/ 132425 h 614713"/>
              <a:gd name="connsiteX910" fmla="*/ 477927 w 736968"/>
              <a:gd name="connsiteY910" fmla="*/ 135022 h 614713"/>
              <a:gd name="connsiteX911" fmla="*/ 475148 w 736968"/>
              <a:gd name="connsiteY911" fmla="*/ 134148 h 614713"/>
              <a:gd name="connsiteX912" fmla="*/ 477026 w 736968"/>
              <a:gd name="connsiteY912" fmla="*/ 140437 h 614713"/>
              <a:gd name="connsiteX913" fmla="*/ 490082 w 736968"/>
              <a:gd name="connsiteY913" fmla="*/ 127387 h 614713"/>
              <a:gd name="connsiteX914" fmla="*/ 481838 w 736968"/>
              <a:gd name="connsiteY914" fmla="*/ 117841 h 614713"/>
              <a:gd name="connsiteX915" fmla="*/ 475637 w 736968"/>
              <a:gd name="connsiteY915" fmla="*/ 120977 h 614713"/>
              <a:gd name="connsiteX916" fmla="*/ 471177 w 736968"/>
              <a:gd name="connsiteY916" fmla="*/ 121997 h 614713"/>
              <a:gd name="connsiteX917" fmla="*/ 471417 w 736968"/>
              <a:gd name="connsiteY917" fmla="*/ 116778 h 614713"/>
              <a:gd name="connsiteX918" fmla="*/ 469658 w 736968"/>
              <a:gd name="connsiteY918" fmla="*/ 112648 h 614713"/>
              <a:gd name="connsiteX919" fmla="*/ 468037 w 736968"/>
              <a:gd name="connsiteY919" fmla="*/ 103170 h 614713"/>
              <a:gd name="connsiteX920" fmla="*/ 462445 w 736968"/>
              <a:gd name="connsiteY920" fmla="*/ 94071 h 614713"/>
              <a:gd name="connsiteX921" fmla="*/ 456783 w 736968"/>
              <a:gd name="connsiteY921" fmla="*/ 82074 h 614713"/>
              <a:gd name="connsiteX922" fmla="*/ 374030 w 736968"/>
              <a:gd name="connsiteY922" fmla="*/ 61260 h 614713"/>
              <a:gd name="connsiteX923" fmla="*/ 374030 w 736968"/>
              <a:gd name="connsiteY923" fmla="*/ 100540 h 614713"/>
              <a:gd name="connsiteX924" fmla="*/ 374030 w 736968"/>
              <a:gd name="connsiteY924" fmla="*/ 150797 h 614713"/>
              <a:gd name="connsiteX925" fmla="*/ 439483 w 736968"/>
              <a:gd name="connsiteY925" fmla="*/ 177935 h 614713"/>
              <a:gd name="connsiteX926" fmla="*/ 467283 w 736968"/>
              <a:gd name="connsiteY926" fmla="*/ 150172 h 614713"/>
              <a:gd name="connsiteX927" fmla="*/ 374030 w 736968"/>
              <a:gd name="connsiteY927" fmla="*/ 111517 h 614713"/>
              <a:gd name="connsiteX928" fmla="*/ 374030 w 736968"/>
              <a:gd name="connsiteY928" fmla="*/ 150797 h 614713"/>
              <a:gd name="connsiteX929" fmla="*/ 374030 w 736968"/>
              <a:gd name="connsiteY929" fmla="*/ 201140 h 614713"/>
              <a:gd name="connsiteX930" fmla="*/ 385034 w 736968"/>
              <a:gd name="connsiteY930" fmla="*/ 203368 h 614713"/>
              <a:gd name="connsiteX931" fmla="*/ 390232 w 736968"/>
              <a:gd name="connsiteY931" fmla="*/ 198638 h 614713"/>
              <a:gd name="connsiteX932" fmla="*/ 393826 w 736968"/>
              <a:gd name="connsiteY932" fmla="*/ 199546 h 614713"/>
              <a:gd name="connsiteX933" fmla="*/ 390773 w 736968"/>
              <a:gd name="connsiteY933" fmla="*/ 205476 h 614713"/>
              <a:gd name="connsiteX934" fmla="*/ 401692 w 736968"/>
              <a:gd name="connsiteY934" fmla="*/ 211766 h 614713"/>
              <a:gd name="connsiteX935" fmla="*/ 403888 w 736968"/>
              <a:gd name="connsiteY935" fmla="*/ 213496 h 614713"/>
              <a:gd name="connsiteX936" fmla="*/ 407662 w 736968"/>
              <a:gd name="connsiteY936" fmla="*/ 209726 h 614713"/>
              <a:gd name="connsiteX937" fmla="*/ 407593 w 736968"/>
              <a:gd name="connsiteY937" fmla="*/ 209306 h 614713"/>
              <a:gd name="connsiteX938" fmla="*/ 414352 w 736968"/>
              <a:gd name="connsiteY938" fmla="*/ 203042 h 614713"/>
              <a:gd name="connsiteX939" fmla="*/ 426608 w 736968"/>
              <a:gd name="connsiteY939" fmla="*/ 190798 h 614713"/>
              <a:gd name="connsiteX940" fmla="*/ 425682 w 736968"/>
              <a:gd name="connsiteY940" fmla="*/ 190643 h 614713"/>
              <a:gd name="connsiteX941" fmla="*/ 420090 w 736968"/>
              <a:gd name="connsiteY941" fmla="*/ 192905 h 614713"/>
              <a:gd name="connsiteX942" fmla="*/ 428728 w 736968"/>
              <a:gd name="connsiteY942" fmla="*/ 186719 h 614713"/>
              <a:gd name="connsiteX943" fmla="*/ 430142 w 736968"/>
              <a:gd name="connsiteY943" fmla="*/ 187267 h 614713"/>
              <a:gd name="connsiteX944" fmla="*/ 431703 w 736968"/>
              <a:gd name="connsiteY944" fmla="*/ 185707 h 614713"/>
              <a:gd name="connsiteX945" fmla="*/ 374030 w 736968"/>
              <a:gd name="connsiteY945" fmla="*/ 161783 h 614713"/>
              <a:gd name="connsiteX946" fmla="*/ 374030 w 736968"/>
              <a:gd name="connsiteY946" fmla="*/ 201140 h 614713"/>
              <a:gd name="connsiteX947" fmla="*/ 368541 w 736968"/>
              <a:gd name="connsiteY947" fmla="*/ 211834 h 614713"/>
              <a:gd name="connsiteX948" fmla="*/ 355177 w 736968"/>
              <a:gd name="connsiteY948" fmla="*/ 213856 h 614713"/>
              <a:gd name="connsiteX949" fmla="*/ 354508 w 736968"/>
              <a:gd name="connsiteY949" fmla="*/ 215450 h 614713"/>
              <a:gd name="connsiteX950" fmla="*/ 359320 w 736968"/>
              <a:gd name="connsiteY950" fmla="*/ 216762 h 614713"/>
              <a:gd name="connsiteX951" fmla="*/ 356035 w 736968"/>
              <a:gd name="connsiteY951" fmla="*/ 218972 h 614713"/>
              <a:gd name="connsiteX952" fmla="*/ 359148 w 736968"/>
              <a:gd name="connsiteY952" fmla="*/ 221526 h 614713"/>
              <a:gd name="connsiteX953" fmla="*/ 356155 w 736968"/>
              <a:gd name="connsiteY953" fmla="*/ 227250 h 614713"/>
              <a:gd name="connsiteX954" fmla="*/ 344069 w 736968"/>
              <a:gd name="connsiteY954" fmla="*/ 231808 h 614713"/>
              <a:gd name="connsiteX955" fmla="*/ 340981 w 736968"/>
              <a:gd name="connsiteY955" fmla="*/ 237010 h 614713"/>
              <a:gd name="connsiteX956" fmla="*/ 331804 w 736968"/>
              <a:gd name="connsiteY956" fmla="*/ 244345 h 614713"/>
              <a:gd name="connsiteX957" fmla="*/ 336452 w 736968"/>
              <a:gd name="connsiteY957" fmla="*/ 242511 h 614713"/>
              <a:gd name="connsiteX958" fmla="*/ 342732 w 736968"/>
              <a:gd name="connsiteY958" fmla="*/ 239418 h 614713"/>
              <a:gd name="connsiteX959" fmla="*/ 343778 w 736968"/>
              <a:gd name="connsiteY959" fmla="*/ 244413 h 614713"/>
              <a:gd name="connsiteX960" fmla="*/ 336144 w 736968"/>
              <a:gd name="connsiteY960" fmla="*/ 249640 h 614713"/>
              <a:gd name="connsiteX961" fmla="*/ 332224 w 736968"/>
              <a:gd name="connsiteY961" fmla="*/ 249384 h 614713"/>
              <a:gd name="connsiteX962" fmla="*/ 339258 w 736968"/>
              <a:gd name="connsiteY962" fmla="*/ 252546 h 614713"/>
              <a:gd name="connsiteX963" fmla="*/ 334445 w 736968"/>
              <a:gd name="connsiteY963" fmla="*/ 256213 h 614713"/>
              <a:gd name="connsiteX964" fmla="*/ 335552 w 736968"/>
              <a:gd name="connsiteY964" fmla="*/ 258090 h 614713"/>
              <a:gd name="connsiteX965" fmla="*/ 340612 w 736968"/>
              <a:gd name="connsiteY965" fmla="*/ 258493 h 614713"/>
              <a:gd name="connsiteX966" fmla="*/ 331907 w 736968"/>
              <a:gd name="connsiteY966" fmla="*/ 275116 h 614713"/>
              <a:gd name="connsiteX967" fmla="*/ 328210 w 736968"/>
              <a:gd name="connsiteY967" fmla="*/ 275956 h 614713"/>
              <a:gd name="connsiteX968" fmla="*/ 333991 w 736968"/>
              <a:gd name="connsiteY968" fmla="*/ 284936 h 614713"/>
              <a:gd name="connsiteX969" fmla="*/ 339000 w 736968"/>
              <a:gd name="connsiteY969" fmla="*/ 278767 h 614713"/>
              <a:gd name="connsiteX970" fmla="*/ 340518 w 736968"/>
              <a:gd name="connsiteY970" fmla="*/ 276547 h 614713"/>
              <a:gd name="connsiteX971" fmla="*/ 343049 w 736968"/>
              <a:gd name="connsiteY971" fmla="*/ 274911 h 614713"/>
              <a:gd name="connsiteX972" fmla="*/ 347989 w 736968"/>
              <a:gd name="connsiteY972" fmla="*/ 268313 h 614713"/>
              <a:gd name="connsiteX973" fmla="*/ 347311 w 736968"/>
              <a:gd name="connsiteY973" fmla="*/ 264542 h 614713"/>
              <a:gd name="connsiteX974" fmla="*/ 349568 w 736968"/>
              <a:gd name="connsiteY974" fmla="*/ 262700 h 614713"/>
              <a:gd name="connsiteX975" fmla="*/ 353110 w 736968"/>
              <a:gd name="connsiteY975" fmla="*/ 263557 h 614713"/>
              <a:gd name="connsiteX976" fmla="*/ 359122 w 736968"/>
              <a:gd name="connsiteY976" fmla="*/ 264825 h 614713"/>
              <a:gd name="connsiteX977" fmla="*/ 363523 w 736968"/>
              <a:gd name="connsiteY977" fmla="*/ 266521 h 614713"/>
              <a:gd name="connsiteX978" fmla="*/ 363754 w 736968"/>
              <a:gd name="connsiteY978" fmla="*/ 269761 h 614713"/>
              <a:gd name="connsiteX979" fmla="*/ 365289 w 736968"/>
              <a:gd name="connsiteY979" fmla="*/ 269906 h 614713"/>
              <a:gd name="connsiteX980" fmla="*/ 361344 w 736968"/>
              <a:gd name="connsiteY980" fmla="*/ 275896 h 614713"/>
              <a:gd name="connsiteX981" fmla="*/ 355160 w 736968"/>
              <a:gd name="connsiteY981" fmla="*/ 287790 h 614713"/>
              <a:gd name="connsiteX982" fmla="*/ 348504 w 736968"/>
              <a:gd name="connsiteY982" fmla="*/ 287953 h 614713"/>
              <a:gd name="connsiteX983" fmla="*/ 344635 w 736968"/>
              <a:gd name="connsiteY983" fmla="*/ 289033 h 614713"/>
              <a:gd name="connsiteX984" fmla="*/ 339077 w 736968"/>
              <a:gd name="connsiteY984" fmla="*/ 290189 h 614713"/>
              <a:gd name="connsiteX985" fmla="*/ 368540 w 736968"/>
              <a:gd name="connsiteY985" fmla="*/ 301303 h 614713"/>
              <a:gd name="connsiteX986" fmla="*/ 375660 w 736968"/>
              <a:gd name="connsiteY986" fmla="*/ 300703 h 614713"/>
              <a:gd name="connsiteX987" fmla="*/ 378018 w 736968"/>
              <a:gd name="connsiteY987" fmla="*/ 294217 h 614713"/>
              <a:gd name="connsiteX988" fmla="*/ 378645 w 736968"/>
              <a:gd name="connsiteY988" fmla="*/ 290172 h 614713"/>
              <a:gd name="connsiteX989" fmla="*/ 384331 w 736968"/>
              <a:gd name="connsiteY989" fmla="*/ 284782 h 614713"/>
              <a:gd name="connsiteX990" fmla="*/ 388328 w 736968"/>
              <a:gd name="connsiteY990" fmla="*/ 285382 h 614713"/>
              <a:gd name="connsiteX991" fmla="*/ 394152 w 736968"/>
              <a:gd name="connsiteY991" fmla="*/ 286753 h 614713"/>
              <a:gd name="connsiteX992" fmla="*/ 389838 w 736968"/>
              <a:gd name="connsiteY992" fmla="*/ 289495 h 614713"/>
              <a:gd name="connsiteX993" fmla="*/ 394341 w 736968"/>
              <a:gd name="connsiteY993" fmla="*/ 290386 h 614713"/>
              <a:gd name="connsiteX994" fmla="*/ 395542 w 736968"/>
              <a:gd name="connsiteY994" fmla="*/ 284465 h 614713"/>
              <a:gd name="connsiteX995" fmla="*/ 396254 w 736968"/>
              <a:gd name="connsiteY995" fmla="*/ 282614 h 614713"/>
              <a:gd name="connsiteX996" fmla="*/ 398724 w 736968"/>
              <a:gd name="connsiteY996" fmla="*/ 276128 h 614713"/>
              <a:gd name="connsiteX997" fmla="*/ 393723 w 736968"/>
              <a:gd name="connsiteY997" fmla="*/ 275630 h 614713"/>
              <a:gd name="connsiteX998" fmla="*/ 390310 w 736968"/>
              <a:gd name="connsiteY998" fmla="*/ 270574 h 614713"/>
              <a:gd name="connsiteX999" fmla="*/ 395593 w 736968"/>
              <a:gd name="connsiteY999" fmla="*/ 274182 h 614713"/>
              <a:gd name="connsiteX1000" fmla="*/ 400019 w 736968"/>
              <a:gd name="connsiteY1000" fmla="*/ 270232 h 614713"/>
              <a:gd name="connsiteX1001" fmla="*/ 395585 w 736968"/>
              <a:gd name="connsiteY1001" fmla="*/ 266204 h 614713"/>
              <a:gd name="connsiteX1002" fmla="*/ 398475 w 736968"/>
              <a:gd name="connsiteY1002" fmla="*/ 265073 h 614713"/>
              <a:gd name="connsiteX1003" fmla="*/ 396631 w 736968"/>
              <a:gd name="connsiteY1003" fmla="*/ 260772 h 614713"/>
              <a:gd name="connsiteX1004" fmla="*/ 390686 w 736968"/>
              <a:gd name="connsiteY1004" fmla="*/ 252357 h 614713"/>
              <a:gd name="connsiteX1005" fmla="*/ 386887 w 736968"/>
              <a:gd name="connsiteY1005" fmla="*/ 254807 h 614713"/>
              <a:gd name="connsiteX1006" fmla="*/ 385223 w 736968"/>
              <a:gd name="connsiteY1006" fmla="*/ 253522 h 614713"/>
              <a:gd name="connsiteX1007" fmla="*/ 389495 w 736968"/>
              <a:gd name="connsiteY1007" fmla="*/ 248467 h 614713"/>
              <a:gd name="connsiteX1008" fmla="*/ 393543 w 736968"/>
              <a:gd name="connsiteY1008" fmla="*/ 244482 h 614713"/>
              <a:gd name="connsiteX1009" fmla="*/ 390764 w 736968"/>
              <a:gd name="connsiteY1009" fmla="*/ 238707 h 614713"/>
              <a:gd name="connsiteX1010" fmla="*/ 387531 w 736968"/>
              <a:gd name="connsiteY1010" fmla="*/ 233651 h 614713"/>
              <a:gd name="connsiteX1011" fmla="*/ 383851 w 736968"/>
              <a:gd name="connsiteY1011" fmla="*/ 228801 h 614713"/>
              <a:gd name="connsiteX1012" fmla="*/ 380094 w 736968"/>
              <a:gd name="connsiteY1012" fmla="*/ 226290 h 614713"/>
              <a:gd name="connsiteX1013" fmla="*/ 373498 w 736968"/>
              <a:gd name="connsiteY1013" fmla="*/ 223334 h 614713"/>
              <a:gd name="connsiteX1014" fmla="*/ 365255 w 736968"/>
              <a:gd name="connsiteY1014" fmla="*/ 218509 h 614713"/>
              <a:gd name="connsiteX1015" fmla="*/ 362262 w 736968"/>
              <a:gd name="connsiteY1015" fmla="*/ 215545 h 614713"/>
              <a:gd name="connsiteX1016" fmla="*/ 368540 w 736968"/>
              <a:gd name="connsiteY1016" fmla="*/ 215142 h 614713"/>
              <a:gd name="connsiteX1017" fmla="*/ 369398 w 736968"/>
              <a:gd name="connsiteY1017" fmla="*/ 211868 h 614713"/>
              <a:gd name="connsiteX1018" fmla="*/ 368540 w 736968"/>
              <a:gd name="connsiteY1018" fmla="*/ 211834 h 614713"/>
              <a:gd name="connsiteX1019" fmla="*/ 198590 w 736968"/>
              <a:gd name="connsiteY1019" fmla="*/ 79032 h 614713"/>
              <a:gd name="connsiteX1020" fmla="*/ 226492 w 736968"/>
              <a:gd name="connsiteY1020" fmla="*/ 106907 h 614713"/>
              <a:gd name="connsiteX1021" fmla="*/ 363051 w 736968"/>
              <a:gd name="connsiteY1021" fmla="*/ 50292 h 614713"/>
              <a:gd name="connsiteX1022" fmla="*/ 363051 w 736968"/>
              <a:gd name="connsiteY1022" fmla="*/ 11037 h 614713"/>
              <a:gd name="connsiteX1023" fmla="*/ 198590 w 736968"/>
              <a:gd name="connsiteY1023" fmla="*/ 79032 h 614713"/>
              <a:gd name="connsiteX1024" fmla="*/ 122766 w 736968"/>
              <a:gd name="connsiteY1024" fmla="*/ 251080 h 614713"/>
              <a:gd name="connsiteX1025" fmla="*/ 162068 w 736968"/>
              <a:gd name="connsiteY1025" fmla="*/ 251080 h 614713"/>
              <a:gd name="connsiteX1026" fmla="*/ 218729 w 736968"/>
              <a:gd name="connsiteY1026" fmla="*/ 114662 h 614713"/>
              <a:gd name="connsiteX1027" fmla="*/ 190827 w 736968"/>
              <a:gd name="connsiteY1027" fmla="*/ 86787 h 614713"/>
              <a:gd name="connsiteX1028" fmla="*/ 122766 w 736968"/>
              <a:gd name="connsiteY1028" fmla="*/ 251080 h 61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Lst>
            <a:rect l="l" t="t" r="r" b="b"/>
            <a:pathLst>
              <a:path w="736968" h="614713">
                <a:moveTo>
                  <a:pt x="586884" y="559057"/>
                </a:moveTo>
                <a:cubicBezTo>
                  <a:pt x="587228" y="558979"/>
                  <a:pt x="587699" y="559357"/>
                  <a:pt x="587869" y="559556"/>
                </a:cubicBezTo>
                <a:cubicBezTo>
                  <a:pt x="574446" y="573299"/>
                  <a:pt x="557232" y="582717"/>
                  <a:pt x="540711" y="587411"/>
                </a:cubicBezTo>
                <a:cubicBezTo>
                  <a:pt x="528458" y="590894"/>
                  <a:pt x="516112" y="591475"/>
                  <a:pt x="503480" y="590061"/>
                </a:cubicBezTo>
                <a:cubicBezTo>
                  <a:pt x="484042" y="587886"/>
                  <a:pt x="466897" y="580106"/>
                  <a:pt x="450805" y="569540"/>
                </a:cubicBezTo>
                <a:cubicBezTo>
                  <a:pt x="441173" y="563213"/>
                  <a:pt x="431644" y="556736"/>
                  <a:pt x="422114" y="550259"/>
                </a:cubicBezTo>
                <a:cubicBezTo>
                  <a:pt x="411169" y="542813"/>
                  <a:pt x="399093" y="541447"/>
                  <a:pt x="386381" y="543521"/>
                </a:cubicBezTo>
                <a:cubicBezTo>
                  <a:pt x="379494" y="544267"/>
                  <a:pt x="384717" y="547575"/>
                  <a:pt x="385772" y="548099"/>
                </a:cubicBezTo>
                <a:cubicBezTo>
                  <a:pt x="402850" y="556455"/>
                  <a:pt x="418923" y="566464"/>
                  <a:pt x="433943" y="578037"/>
                </a:cubicBezTo>
                <a:cubicBezTo>
                  <a:pt x="444150" y="585522"/>
                  <a:pt x="462359" y="603058"/>
                  <a:pt x="462359" y="603058"/>
                </a:cubicBezTo>
                <a:lnTo>
                  <a:pt x="448738" y="614714"/>
                </a:lnTo>
                <a:cubicBezTo>
                  <a:pt x="448738" y="614714"/>
                  <a:pt x="438342" y="603078"/>
                  <a:pt x="433814" y="598553"/>
                </a:cubicBezTo>
                <a:cubicBezTo>
                  <a:pt x="403930" y="567457"/>
                  <a:pt x="377469" y="553786"/>
                  <a:pt x="371602" y="550414"/>
                </a:cubicBezTo>
                <a:cubicBezTo>
                  <a:pt x="370573" y="549823"/>
                  <a:pt x="369587" y="549256"/>
                  <a:pt x="368540" y="549256"/>
                </a:cubicBezTo>
                <a:cubicBezTo>
                  <a:pt x="367494" y="549256"/>
                  <a:pt x="366508" y="549823"/>
                  <a:pt x="365479" y="550414"/>
                </a:cubicBezTo>
                <a:cubicBezTo>
                  <a:pt x="359612" y="553786"/>
                  <a:pt x="333151" y="567457"/>
                  <a:pt x="303259" y="598553"/>
                </a:cubicBezTo>
                <a:cubicBezTo>
                  <a:pt x="298738" y="603078"/>
                  <a:pt x="288343" y="614714"/>
                  <a:pt x="288343" y="614714"/>
                </a:cubicBezTo>
                <a:lnTo>
                  <a:pt x="274713" y="603058"/>
                </a:lnTo>
                <a:cubicBezTo>
                  <a:pt x="274713" y="603058"/>
                  <a:pt x="292931" y="585522"/>
                  <a:pt x="303139" y="578037"/>
                </a:cubicBezTo>
                <a:cubicBezTo>
                  <a:pt x="318157" y="566464"/>
                  <a:pt x="334231" y="556455"/>
                  <a:pt x="351309" y="548099"/>
                </a:cubicBezTo>
                <a:cubicBezTo>
                  <a:pt x="352364" y="547575"/>
                  <a:pt x="357587" y="544267"/>
                  <a:pt x="350700" y="543521"/>
                </a:cubicBezTo>
                <a:cubicBezTo>
                  <a:pt x="337988" y="541447"/>
                  <a:pt x="325911" y="542813"/>
                  <a:pt x="314967" y="550259"/>
                </a:cubicBezTo>
                <a:cubicBezTo>
                  <a:pt x="305437" y="556736"/>
                  <a:pt x="295900" y="563213"/>
                  <a:pt x="286267" y="569540"/>
                </a:cubicBezTo>
                <a:cubicBezTo>
                  <a:pt x="270184" y="580106"/>
                  <a:pt x="253039" y="587886"/>
                  <a:pt x="233594" y="590061"/>
                </a:cubicBezTo>
                <a:cubicBezTo>
                  <a:pt x="220968" y="591475"/>
                  <a:pt x="208625" y="590894"/>
                  <a:pt x="196368" y="587411"/>
                </a:cubicBezTo>
                <a:cubicBezTo>
                  <a:pt x="179848" y="582717"/>
                  <a:pt x="162591" y="573241"/>
                  <a:pt x="149168" y="559498"/>
                </a:cubicBezTo>
                <a:cubicBezTo>
                  <a:pt x="149339" y="559299"/>
                  <a:pt x="149854" y="558979"/>
                  <a:pt x="150197" y="559057"/>
                </a:cubicBezTo>
                <a:cubicBezTo>
                  <a:pt x="151338" y="559565"/>
                  <a:pt x="152040" y="559924"/>
                  <a:pt x="153148" y="560500"/>
                </a:cubicBezTo>
                <a:cubicBezTo>
                  <a:pt x="173099" y="570756"/>
                  <a:pt x="194121" y="571948"/>
                  <a:pt x="215727" y="567791"/>
                </a:cubicBezTo>
                <a:cubicBezTo>
                  <a:pt x="230480" y="564952"/>
                  <a:pt x="244187" y="559052"/>
                  <a:pt x="257919" y="553190"/>
                </a:cubicBezTo>
                <a:cubicBezTo>
                  <a:pt x="267757" y="549000"/>
                  <a:pt x="277475" y="544378"/>
                  <a:pt x="287605" y="541036"/>
                </a:cubicBezTo>
                <a:cubicBezTo>
                  <a:pt x="313860" y="532384"/>
                  <a:pt x="340467" y="532485"/>
                  <a:pt x="367185" y="539248"/>
                </a:cubicBezTo>
                <a:cubicBezTo>
                  <a:pt x="367623" y="539369"/>
                  <a:pt x="368077" y="539427"/>
                  <a:pt x="368541" y="539485"/>
                </a:cubicBezTo>
                <a:cubicBezTo>
                  <a:pt x="368995" y="539427"/>
                  <a:pt x="369459" y="539369"/>
                  <a:pt x="369896" y="539248"/>
                </a:cubicBezTo>
                <a:cubicBezTo>
                  <a:pt x="396614" y="532485"/>
                  <a:pt x="423220" y="532384"/>
                  <a:pt x="449476" y="541036"/>
                </a:cubicBezTo>
                <a:cubicBezTo>
                  <a:pt x="459606" y="544378"/>
                  <a:pt x="469324" y="549000"/>
                  <a:pt x="479162" y="553190"/>
                </a:cubicBezTo>
                <a:cubicBezTo>
                  <a:pt x="492885" y="559052"/>
                  <a:pt x="506603" y="564952"/>
                  <a:pt x="521354" y="567791"/>
                </a:cubicBezTo>
                <a:cubicBezTo>
                  <a:pt x="542961" y="571948"/>
                  <a:pt x="563982" y="570756"/>
                  <a:pt x="583936" y="560500"/>
                </a:cubicBezTo>
                <a:cubicBezTo>
                  <a:pt x="585041" y="559924"/>
                  <a:pt x="585745" y="559565"/>
                  <a:pt x="586884" y="559057"/>
                </a:cubicBezTo>
                <a:close/>
                <a:moveTo>
                  <a:pt x="649912" y="501893"/>
                </a:moveTo>
                <a:cubicBezTo>
                  <a:pt x="638483" y="510661"/>
                  <a:pt x="631127" y="513563"/>
                  <a:pt x="621647" y="516814"/>
                </a:cubicBezTo>
                <a:cubicBezTo>
                  <a:pt x="607401" y="521697"/>
                  <a:pt x="592048" y="522685"/>
                  <a:pt x="577167" y="523465"/>
                </a:cubicBezTo>
                <a:cubicBezTo>
                  <a:pt x="557499" y="524492"/>
                  <a:pt x="538519" y="525340"/>
                  <a:pt x="519133" y="528484"/>
                </a:cubicBezTo>
                <a:lnTo>
                  <a:pt x="518822" y="528537"/>
                </a:lnTo>
                <a:cubicBezTo>
                  <a:pt x="517605" y="528731"/>
                  <a:pt x="517048" y="528217"/>
                  <a:pt x="517440" y="527801"/>
                </a:cubicBezTo>
                <a:cubicBezTo>
                  <a:pt x="517513" y="527728"/>
                  <a:pt x="517639" y="527636"/>
                  <a:pt x="517731" y="527602"/>
                </a:cubicBezTo>
                <a:cubicBezTo>
                  <a:pt x="535018" y="521275"/>
                  <a:pt x="546758" y="507885"/>
                  <a:pt x="555603" y="491071"/>
                </a:cubicBezTo>
                <a:cubicBezTo>
                  <a:pt x="561727" y="479427"/>
                  <a:pt x="571755" y="456676"/>
                  <a:pt x="574543" y="452957"/>
                </a:cubicBezTo>
                <a:cubicBezTo>
                  <a:pt x="574601" y="452880"/>
                  <a:pt x="574534" y="452126"/>
                  <a:pt x="574354" y="451980"/>
                </a:cubicBezTo>
                <a:cubicBezTo>
                  <a:pt x="573040" y="452409"/>
                  <a:pt x="554017" y="468587"/>
                  <a:pt x="545381" y="476599"/>
                </a:cubicBezTo>
                <a:cubicBezTo>
                  <a:pt x="534664" y="486546"/>
                  <a:pt x="524578" y="497174"/>
                  <a:pt x="513857" y="507120"/>
                </a:cubicBezTo>
                <a:cubicBezTo>
                  <a:pt x="497103" y="523102"/>
                  <a:pt x="473020" y="530121"/>
                  <a:pt x="464298" y="532384"/>
                </a:cubicBezTo>
                <a:cubicBezTo>
                  <a:pt x="464100" y="532432"/>
                  <a:pt x="463705" y="532582"/>
                  <a:pt x="463611" y="532694"/>
                </a:cubicBezTo>
                <a:cubicBezTo>
                  <a:pt x="463354" y="533028"/>
                  <a:pt x="463225" y="533333"/>
                  <a:pt x="463174" y="533478"/>
                </a:cubicBezTo>
                <a:cubicBezTo>
                  <a:pt x="463157" y="533541"/>
                  <a:pt x="463183" y="533585"/>
                  <a:pt x="463242" y="533590"/>
                </a:cubicBezTo>
                <a:lnTo>
                  <a:pt x="463637" y="533687"/>
                </a:lnTo>
                <a:cubicBezTo>
                  <a:pt x="470404" y="535227"/>
                  <a:pt x="489951" y="539471"/>
                  <a:pt x="499979" y="542145"/>
                </a:cubicBezTo>
                <a:cubicBezTo>
                  <a:pt x="515399" y="546272"/>
                  <a:pt x="530858" y="549736"/>
                  <a:pt x="546836" y="550860"/>
                </a:cubicBezTo>
                <a:cubicBezTo>
                  <a:pt x="564147" y="552076"/>
                  <a:pt x="581376" y="550259"/>
                  <a:pt x="597470" y="544267"/>
                </a:cubicBezTo>
                <a:cubicBezTo>
                  <a:pt x="615765" y="537456"/>
                  <a:pt x="638313" y="521363"/>
                  <a:pt x="651188" y="502082"/>
                </a:cubicBezTo>
                <a:cubicBezTo>
                  <a:pt x="651222" y="502033"/>
                  <a:pt x="651256" y="501946"/>
                  <a:pt x="651222" y="501927"/>
                </a:cubicBezTo>
                <a:cubicBezTo>
                  <a:pt x="650664" y="501636"/>
                  <a:pt x="650014" y="501825"/>
                  <a:pt x="649912" y="501893"/>
                </a:cubicBezTo>
                <a:close/>
                <a:moveTo>
                  <a:pt x="708819" y="411663"/>
                </a:moveTo>
                <a:cubicBezTo>
                  <a:pt x="708286" y="412348"/>
                  <a:pt x="698655" y="424953"/>
                  <a:pt x="675040" y="441106"/>
                </a:cubicBezTo>
                <a:cubicBezTo>
                  <a:pt x="663582" y="449084"/>
                  <a:pt x="652938" y="454166"/>
                  <a:pt x="640345" y="460001"/>
                </a:cubicBezTo>
                <a:cubicBezTo>
                  <a:pt x="624634" y="467293"/>
                  <a:pt x="611096" y="473951"/>
                  <a:pt x="597736" y="485005"/>
                </a:cubicBezTo>
                <a:cubicBezTo>
                  <a:pt x="596868" y="485718"/>
                  <a:pt x="596146" y="486255"/>
                  <a:pt x="595273" y="486900"/>
                </a:cubicBezTo>
                <a:cubicBezTo>
                  <a:pt x="594803" y="487244"/>
                  <a:pt x="594337" y="486657"/>
                  <a:pt x="594851" y="486061"/>
                </a:cubicBezTo>
                <a:cubicBezTo>
                  <a:pt x="595506" y="485306"/>
                  <a:pt x="615164" y="465194"/>
                  <a:pt x="621075" y="422571"/>
                </a:cubicBezTo>
                <a:cubicBezTo>
                  <a:pt x="623131" y="407696"/>
                  <a:pt x="623422" y="391629"/>
                  <a:pt x="628252" y="377293"/>
                </a:cubicBezTo>
                <a:cubicBezTo>
                  <a:pt x="628387" y="376838"/>
                  <a:pt x="628116" y="376351"/>
                  <a:pt x="627951" y="376127"/>
                </a:cubicBezTo>
                <a:cubicBezTo>
                  <a:pt x="627927" y="376093"/>
                  <a:pt x="627796" y="376179"/>
                  <a:pt x="627772" y="376213"/>
                </a:cubicBezTo>
                <a:cubicBezTo>
                  <a:pt x="613326" y="392717"/>
                  <a:pt x="601300" y="418390"/>
                  <a:pt x="595695" y="434440"/>
                </a:cubicBezTo>
                <a:cubicBezTo>
                  <a:pt x="591724" y="445802"/>
                  <a:pt x="587932" y="457224"/>
                  <a:pt x="583824" y="468535"/>
                </a:cubicBezTo>
                <a:cubicBezTo>
                  <a:pt x="578248" y="483882"/>
                  <a:pt x="570965" y="498289"/>
                  <a:pt x="559147" y="509968"/>
                </a:cubicBezTo>
                <a:cubicBezTo>
                  <a:pt x="558973" y="510148"/>
                  <a:pt x="558081" y="511083"/>
                  <a:pt x="558081" y="511083"/>
                </a:cubicBezTo>
                <a:cubicBezTo>
                  <a:pt x="558081" y="511083"/>
                  <a:pt x="557935" y="511354"/>
                  <a:pt x="557887" y="511785"/>
                </a:cubicBezTo>
                <a:cubicBezTo>
                  <a:pt x="557887" y="511824"/>
                  <a:pt x="557945" y="511911"/>
                  <a:pt x="557979" y="511901"/>
                </a:cubicBezTo>
                <a:cubicBezTo>
                  <a:pt x="559671" y="511611"/>
                  <a:pt x="560777" y="511451"/>
                  <a:pt x="561863" y="511218"/>
                </a:cubicBezTo>
                <a:cubicBezTo>
                  <a:pt x="575023" y="508501"/>
                  <a:pt x="588101" y="505357"/>
                  <a:pt x="601334" y="503152"/>
                </a:cubicBezTo>
                <a:cubicBezTo>
                  <a:pt x="623456" y="499471"/>
                  <a:pt x="642784" y="491623"/>
                  <a:pt x="660605" y="477953"/>
                </a:cubicBezTo>
                <a:cubicBezTo>
                  <a:pt x="678483" y="464242"/>
                  <a:pt x="693612" y="448270"/>
                  <a:pt x="703485" y="427832"/>
                </a:cubicBezTo>
                <a:cubicBezTo>
                  <a:pt x="706050" y="422520"/>
                  <a:pt x="708460" y="417319"/>
                  <a:pt x="710046" y="411501"/>
                </a:cubicBezTo>
                <a:cubicBezTo>
                  <a:pt x="709711" y="411372"/>
                  <a:pt x="709178" y="411397"/>
                  <a:pt x="708819" y="411663"/>
                </a:cubicBezTo>
                <a:close/>
                <a:moveTo>
                  <a:pt x="734621" y="310240"/>
                </a:moveTo>
                <a:cubicBezTo>
                  <a:pt x="728943" y="328329"/>
                  <a:pt x="718672" y="342974"/>
                  <a:pt x="703698" y="358724"/>
                </a:cubicBezTo>
                <a:cubicBezTo>
                  <a:pt x="691954" y="370831"/>
                  <a:pt x="669357" y="393728"/>
                  <a:pt x="658917" y="409606"/>
                </a:cubicBezTo>
                <a:cubicBezTo>
                  <a:pt x="658626" y="410052"/>
                  <a:pt x="657846" y="409855"/>
                  <a:pt x="658137" y="409050"/>
                </a:cubicBezTo>
                <a:cubicBezTo>
                  <a:pt x="663160" y="395228"/>
                  <a:pt x="665308" y="370780"/>
                  <a:pt x="662297" y="351834"/>
                </a:cubicBezTo>
                <a:cubicBezTo>
                  <a:pt x="659722" y="335673"/>
                  <a:pt x="652638" y="318038"/>
                  <a:pt x="650887" y="298261"/>
                </a:cubicBezTo>
                <a:cubicBezTo>
                  <a:pt x="650873" y="298167"/>
                  <a:pt x="650897" y="298149"/>
                  <a:pt x="650863" y="298055"/>
                </a:cubicBezTo>
                <a:cubicBezTo>
                  <a:pt x="650761" y="297798"/>
                  <a:pt x="650320" y="297198"/>
                  <a:pt x="650029" y="297173"/>
                </a:cubicBezTo>
                <a:cubicBezTo>
                  <a:pt x="650024" y="297233"/>
                  <a:pt x="649835" y="297516"/>
                  <a:pt x="649360" y="299049"/>
                </a:cubicBezTo>
                <a:cubicBezTo>
                  <a:pt x="645965" y="310541"/>
                  <a:pt x="641718" y="324936"/>
                  <a:pt x="641014" y="338304"/>
                </a:cubicBezTo>
                <a:cubicBezTo>
                  <a:pt x="640156" y="354431"/>
                  <a:pt x="643201" y="375168"/>
                  <a:pt x="641873" y="391766"/>
                </a:cubicBezTo>
                <a:cubicBezTo>
                  <a:pt x="640331" y="410943"/>
                  <a:pt x="639017" y="429915"/>
                  <a:pt x="630216" y="447310"/>
                </a:cubicBezTo>
                <a:cubicBezTo>
                  <a:pt x="630172" y="447396"/>
                  <a:pt x="630148" y="447498"/>
                  <a:pt x="630114" y="447593"/>
                </a:cubicBezTo>
                <a:cubicBezTo>
                  <a:pt x="629934" y="448056"/>
                  <a:pt x="630424" y="448913"/>
                  <a:pt x="630424" y="448913"/>
                </a:cubicBezTo>
                <a:cubicBezTo>
                  <a:pt x="630424" y="448913"/>
                  <a:pt x="630502" y="448895"/>
                  <a:pt x="630536" y="448870"/>
                </a:cubicBezTo>
                <a:cubicBezTo>
                  <a:pt x="637591" y="444371"/>
                  <a:pt x="657705" y="432520"/>
                  <a:pt x="670967" y="423677"/>
                </a:cubicBezTo>
                <a:cubicBezTo>
                  <a:pt x="687522" y="412631"/>
                  <a:pt x="702161" y="399504"/>
                  <a:pt x="713615" y="382991"/>
                </a:cubicBezTo>
                <a:cubicBezTo>
                  <a:pt x="727910" y="362357"/>
                  <a:pt x="736216" y="337507"/>
                  <a:pt x="735795" y="312194"/>
                </a:cubicBezTo>
                <a:cubicBezTo>
                  <a:pt x="735775" y="311337"/>
                  <a:pt x="735717" y="309829"/>
                  <a:pt x="735625" y="309641"/>
                </a:cubicBezTo>
                <a:cubicBezTo>
                  <a:pt x="735436" y="309564"/>
                  <a:pt x="734665" y="310112"/>
                  <a:pt x="734621" y="310240"/>
                </a:cubicBezTo>
                <a:close/>
                <a:moveTo>
                  <a:pt x="691954" y="321158"/>
                </a:moveTo>
                <a:cubicBezTo>
                  <a:pt x="691896" y="321397"/>
                  <a:pt x="691692" y="321500"/>
                  <a:pt x="691619" y="321526"/>
                </a:cubicBezTo>
                <a:cubicBezTo>
                  <a:pt x="691212" y="321646"/>
                  <a:pt x="691013" y="321148"/>
                  <a:pt x="691023" y="321037"/>
                </a:cubicBezTo>
                <a:cubicBezTo>
                  <a:pt x="691663" y="315913"/>
                  <a:pt x="691707" y="309589"/>
                  <a:pt x="691358" y="304773"/>
                </a:cubicBezTo>
                <a:cubicBezTo>
                  <a:pt x="689976" y="285827"/>
                  <a:pt x="678532" y="270138"/>
                  <a:pt x="668499" y="254370"/>
                </a:cubicBezTo>
                <a:cubicBezTo>
                  <a:pt x="663267" y="246144"/>
                  <a:pt x="654199" y="231766"/>
                  <a:pt x="650329" y="222083"/>
                </a:cubicBezTo>
                <a:cubicBezTo>
                  <a:pt x="650296" y="221997"/>
                  <a:pt x="649534" y="221517"/>
                  <a:pt x="649301" y="221620"/>
                </a:cubicBezTo>
                <a:cubicBezTo>
                  <a:pt x="649200" y="223317"/>
                  <a:pt x="649549" y="228895"/>
                  <a:pt x="649927" y="232502"/>
                </a:cubicBezTo>
                <a:cubicBezTo>
                  <a:pt x="652739" y="259624"/>
                  <a:pt x="661385" y="286179"/>
                  <a:pt x="670332" y="311920"/>
                </a:cubicBezTo>
                <a:cubicBezTo>
                  <a:pt x="676321" y="329152"/>
                  <a:pt x="679312" y="343917"/>
                  <a:pt x="677470" y="362134"/>
                </a:cubicBezTo>
                <a:cubicBezTo>
                  <a:pt x="677271" y="363651"/>
                  <a:pt x="677223" y="363813"/>
                  <a:pt x="677853" y="364277"/>
                </a:cubicBezTo>
                <a:cubicBezTo>
                  <a:pt x="677882" y="364294"/>
                  <a:pt x="677916" y="364233"/>
                  <a:pt x="677930" y="364260"/>
                </a:cubicBezTo>
                <a:cubicBezTo>
                  <a:pt x="684050" y="355442"/>
                  <a:pt x="695959" y="343068"/>
                  <a:pt x="703296" y="334140"/>
                </a:cubicBezTo>
                <a:cubicBezTo>
                  <a:pt x="711248" y="324473"/>
                  <a:pt x="751292" y="278869"/>
                  <a:pt x="731566" y="215331"/>
                </a:cubicBezTo>
                <a:cubicBezTo>
                  <a:pt x="730373" y="211500"/>
                  <a:pt x="728948" y="208184"/>
                  <a:pt x="728463" y="207464"/>
                </a:cubicBezTo>
                <a:cubicBezTo>
                  <a:pt x="728152" y="207472"/>
                  <a:pt x="727619" y="208261"/>
                  <a:pt x="727561" y="208467"/>
                </a:cubicBezTo>
                <a:cubicBezTo>
                  <a:pt x="727682" y="254174"/>
                  <a:pt x="705551" y="273797"/>
                  <a:pt x="696313" y="305065"/>
                </a:cubicBezTo>
                <a:cubicBezTo>
                  <a:pt x="694553" y="311020"/>
                  <a:pt x="693166" y="316547"/>
                  <a:pt x="691954" y="321158"/>
                </a:cubicBezTo>
                <a:close/>
                <a:moveTo>
                  <a:pt x="657467" y="179092"/>
                </a:moveTo>
                <a:cubicBezTo>
                  <a:pt x="650208" y="172828"/>
                  <a:pt x="639409" y="161680"/>
                  <a:pt x="633091" y="151962"/>
                </a:cubicBezTo>
                <a:cubicBezTo>
                  <a:pt x="633047" y="151885"/>
                  <a:pt x="632994" y="151834"/>
                  <a:pt x="632946" y="151782"/>
                </a:cubicBezTo>
                <a:cubicBezTo>
                  <a:pt x="632858" y="151697"/>
                  <a:pt x="632766" y="151620"/>
                  <a:pt x="632669" y="151568"/>
                </a:cubicBezTo>
                <a:cubicBezTo>
                  <a:pt x="632276" y="151320"/>
                  <a:pt x="631767" y="151294"/>
                  <a:pt x="631631" y="151363"/>
                </a:cubicBezTo>
                <a:cubicBezTo>
                  <a:pt x="631340" y="151311"/>
                  <a:pt x="631098" y="151328"/>
                  <a:pt x="631117" y="151397"/>
                </a:cubicBezTo>
                <a:cubicBezTo>
                  <a:pt x="631510" y="153299"/>
                  <a:pt x="637809" y="173462"/>
                  <a:pt x="641873" y="182854"/>
                </a:cubicBezTo>
                <a:cubicBezTo>
                  <a:pt x="647750" y="196410"/>
                  <a:pt x="657181" y="207772"/>
                  <a:pt x="666026" y="219443"/>
                </a:cubicBezTo>
                <a:cubicBezTo>
                  <a:pt x="666661" y="220292"/>
                  <a:pt x="667306" y="221131"/>
                  <a:pt x="667941" y="221989"/>
                </a:cubicBezTo>
                <a:cubicBezTo>
                  <a:pt x="676815" y="233908"/>
                  <a:pt x="691013" y="259306"/>
                  <a:pt x="694437" y="272340"/>
                </a:cubicBezTo>
                <a:cubicBezTo>
                  <a:pt x="694529" y="272708"/>
                  <a:pt x="695319" y="273051"/>
                  <a:pt x="695353" y="272897"/>
                </a:cubicBezTo>
                <a:cubicBezTo>
                  <a:pt x="696595" y="268244"/>
                  <a:pt x="702336" y="250172"/>
                  <a:pt x="706589" y="237969"/>
                </a:cubicBezTo>
                <a:cubicBezTo>
                  <a:pt x="707481" y="235433"/>
                  <a:pt x="715011" y="210934"/>
                  <a:pt x="716529" y="200335"/>
                </a:cubicBezTo>
                <a:cubicBezTo>
                  <a:pt x="720825" y="170266"/>
                  <a:pt x="710904" y="131251"/>
                  <a:pt x="693336" y="109931"/>
                </a:cubicBezTo>
                <a:cubicBezTo>
                  <a:pt x="693045" y="110034"/>
                  <a:pt x="692798" y="110814"/>
                  <a:pt x="692846" y="110986"/>
                </a:cubicBezTo>
                <a:cubicBezTo>
                  <a:pt x="693176" y="111988"/>
                  <a:pt x="693404" y="112759"/>
                  <a:pt x="693695" y="113762"/>
                </a:cubicBezTo>
                <a:cubicBezTo>
                  <a:pt x="694083" y="115073"/>
                  <a:pt x="694451" y="116393"/>
                  <a:pt x="694762" y="117738"/>
                </a:cubicBezTo>
                <a:cubicBezTo>
                  <a:pt x="699339" y="137327"/>
                  <a:pt x="697807" y="151149"/>
                  <a:pt x="695557" y="167807"/>
                </a:cubicBezTo>
                <a:cubicBezTo>
                  <a:pt x="693768" y="181088"/>
                  <a:pt x="691193" y="194233"/>
                  <a:pt x="691876" y="207627"/>
                </a:cubicBezTo>
                <a:cubicBezTo>
                  <a:pt x="691993" y="209863"/>
                  <a:pt x="693365" y="226350"/>
                  <a:pt x="693157" y="226975"/>
                </a:cubicBezTo>
                <a:cubicBezTo>
                  <a:pt x="692924" y="227712"/>
                  <a:pt x="692255" y="227146"/>
                  <a:pt x="692177" y="226761"/>
                </a:cubicBezTo>
                <a:cubicBezTo>
                  <a:pt x="692153" y="226641"/>
                  <a:pt x="690019" y="220635"/>
                  <a:pt x="687871" y="215605"/>
                </a:cubicBezTo>
                <a:cubicBezTo>
                  <a:pt x="686984" y="213419"/>
                  <a:pt x="686082" y="211354"/>
                  <a:pt x="685325" y="209863"/>
                </a:cubicBezTo>
                <a:cubicBezTo>
                  <a:pt x="678275" y="195879"/>
                  <a:pt x="669158" y="188621"/>
                  <a:pt x="657467" y="179092"/>
                </a:cubicBezTo>
                <a:close/>
                <a:moveTo>
                  <a:pt x="638090" y="57360"/>
                </a:moveTo>
                <a:cubicBezTo>
                  <a:pt x="643725" y="62853"/>
                  <a:pt x="648109" y="68989"/>
                  <a:pt x="651173" y="76187"/>
                </a:cubicBezTo>
                <a:cubicBezTo>
                  <a:pt x="656017" y="87540"/>
                  <a:pt x="657443" y="104611"/>
                  <a:pt x="660571" y="117524"/>
                </a:cubicBezTo>
                <a:cubicBezTo>
                  <a:pt x="662486" y="125364"/>
                  <a:pt x="663660" y="130917"/>
                  <a:pt x="666414" y="139820"/>
                </a:cubicBezTo>
                <a:cubicBezTo>
                  <a:pt x="666661" y="140600"/>
                  <a:pt x="665847" y="140960"/>
                  <a:pt x="665434" y="140214"/>
                </a:cubicBezTo>
                <a:cubicBezTo>
                  <a:pt x="665366" y="140111"/>
                  <a:pt x="665299" y="140017"/>
                  <a:pt x="665221" y="139923"/>
                </a:cubicBezTo>
                <a:cubicBezTo>
                  <a:pt x="656163" y="127661"/>
                  <a:pt x="644928" y="120009"/>
                  <a:pt x="628911" y="109914"/>
                </a:cubicBezTo>
                <a:cubicBezTo>
                  <a:pt x="619402" y="103676"/>
                  <a:pt x="612153" y="98030"/>
                  <a:pt x="605267" y="88698"/>
                </a:cubicBezTo>
                <a:cubicBezTo>
                  <a:pt x="604074" y="87095"/>
                  <a:pt x="602847" y="85527"/>
                  <a:pt x="601635" y="83950"/>
                </a:cubicBezTo>
                <a:cubicBezTo>
                  <a:pt x="601533" y="83822"/>
                  <a:pt x="600806" y="83565"/>
                  <a:pt x="600583" y="83650"/>
                </a:cubicBezTo>
                <a:cubicBezTo>
                  <a:pt x="600549" y="84010"/>
                  <a:pt x="600709" y="84722"/>
                  <a:pt x="600854" y="85630"/>
                </a:cubicBezTo>
                <a:cubicBezTo>
                  <a:pt x="602905" y="95939"/>
                  <a:pt x="609820" y="115013"/>
                  <a:pt x="621657" y="126315"/>
                </a:cubicBezTo>
                <a:cubicBezTo>
                  <a:pt x="630172" y="134439"/>
                  <a:pt x="639744" y="141654"/>
                  <a:pt x="648836" y="149169"/>
                </a:cubicBezTo>
                <a:cubicBezTo>
                  <a:pt x="665051" y="162725"/>
                  <a:pt x="676878" y="177361"/>
                  <a:pt x="680685" y="182203"/>
                </a:cubicBezTo>
                <a:lnTo>
                  <a:pt x="680859" y="182391"/>
                </a:lnTo>
                <a:cubicBezTo>
                  <a:pt x="680859" y="182391"/>
                  <a:pt x="681587" y="182853"/>
                  <a:pt x="681567" y="182597"/>
                </a:cubicBezTo>
                <a:cubicBezTo>
                  <a:pt x="681562" y="182536"/>
                  <a:pt x="681562" y="182459"/>
                  <a:pt x="681553" y="182399"/>
                </a:cubicBezTo>
                <a:lnTo>
                  <a:pt x="681567" y="182382"/>
                </a:lnTo>
                <a:cubicBezTo>
                  <a:pt x="681344" y="180009"/>
                  <a:pt x="681262" y="176238"/>
                  <a:pt x="681262" y="171783"/>
                </a:cubicBezTo>
                <a:cubicBezTo>
                  <a:pt x="681267" y="161860"/>
                  <a:pt x="681713" y="148587"/>
                  <a:pt x="682154" y="139452"/>
                </a:cubicBezTo>
                <a:cubicBezTo>
                  <a:pt x="682324" y="135759"/>
                  <a:pt x="682450" y="132048"/>
                  <a:pt x="682435" y="128347"/>
                </a:cubicBezTo>
                <a:cubicBezTo>
                  <a:pt x="682411" y="117318"/>
                  <a:pt x="681175" y="106419"/>
                  <a:pt x="676534" y="95964"/>
                </a:cubicBezTo>
                <a:cubicBezTo>
                  <a:pt x="668994" y="79015"/>
                  <a:pt x="657783" y="65536"/>
                  <a:pt x="641014" y="57198"/>
                </a:cubicBezTo>
                <a:cubicBezTo>
                  <a:pt x="640030" y="56710"/>
                  <a:pt x="638726" y="56213"/>
                  <a:pt x="637887" y="56006"/>
                </a:cubicBezTo>
                <a:cubicBezTo>
                  <a:pt x="637853" y="55998"/>
                  <a:pt x="637732" y="56530"/>
                  <a:pt x="637969" y="57206"/>
                </a:cubicBezTo>
                <a:cubicBezTo>
                  <a:pt x="637989" y="57275"/>
                  <a:pt x="638037" y="57318"/>
                  <a:pt x="638090" y="57360"/>
                </a:cubicBezTo>
                <a:close/>
                <a:moveTo>
                  <a:pt x="568632" y="25321"/>
                </a:moveTo>
                <a:cubicBezTo>
                  <a:pt x="578340" y="33942"/>
                  <a:pt x="586128" y="44147"/>
                  <a:pt x="593421" y="54833"/>
                </a:cubicBezTo>
                <a:cubicBezTo>
                  <a:pt x="600408" y="65081"/>
                  <a:pt x="607323" y="75476"/>
                  <a:pt x="616827" y="83702"/>
                </a:cubicBezTo>
                <a:cubicBezTo>
                  <a:pt x="623107" y="90034"/>
                  <a:pt x="641383" y="104225"/>
                  <a:pt x="645956" y="107764"/>
                </a:cubicBezTo>
                <a:cubicBezTo>
                  <a:pt x="646023" y="107824"/>
                  <a:pt x="646091" y="107892"/>
                  <a:pt x="646154" y="107918"/>
                </a:cubicBezTo>
                <a:cubicBezTo>
                  <a:pt x="646300" y="107977"/>
                  <a:pt x="646538" y="107892"/>
                  <a:pt x="646538" y="107892"/>
                </a:cubicBezTo>
                <a:cubicBezTo>
                  <a:pt x="646538" y="107892"/>
                  <a:pt x="646513" y="107764"/>
                  <a:pt x="646504" y="107686"/>
                </a:cubicBezTo>
                <a:cubicBezTo>
                  <a:pt x="645543" y="102442"/>
                  <a:pt x="637285" y="63976"/>
                  <a:pt x="613181" y="44936"/>
                </a:cubicBezTo>
                <a:cubicBezTo>
                  <a:pt x="600229" y="33745"/>
                  <a:pt x="583024" y="26889"/>
                  <a:pt x="566314" y="22288"/>
                </a:cubicBezTo>
                <a:cubicBezTo>
                  <a:pt x="566145" y="22605"/>
                  <a:pt x="566334" y="23436"/>
                  <a:pt x="566436" y="23419"/>
                </a:cubicBezTo>
                <a:cubicBezTo>
                  <a:pt x="567240" y="24121"/>
                  <a:pt x="567827" y="24610"/>
                  <a:pt x="568632" y="25321"/>
                </a:cubicBezTo>
                <a:close/>
                <a:moveTo>
                  <a:pt x="190133" y="550860"/>
                </a:moveTo>
                <a:cubicBezTo>
                  <a:pt x="206112" y="549736"/>
                  <a:pt x="221569" y="546272"/>
                  <a:pt x="236991" y="542145"/>
                </a:cubicBezTo>
                <a:cubicBezTo>
                  <a:pt x="247017" y="539471"/>
                  <a:pt x="266565" y="535227"/>
                  <a:pt x="273332" y="533687"/>
                </a:cubicBezTo>
                <a:lnTo>
                  <a:pt x="273727" y="533590"/>
                </a:lnTo>
                <a:cubicBezTo>
                  <a:pt x="273787" y="533585"/>
                  <a:pt x="273813" y="533541"/>
                  <a:pt x="273796" y="533478"/>
                </a:cubicBezTo>
                <a:cubicBezTo>
                  <a:pt x="273744" y="533333"/>
                  <a:pt x="273615" y="533028"/>
                  <a:pt x="273358" y="532694"/>
                </a:cubicBezTo>
                <a:cubicBezTo>
                  <a:pt x="273264" y="532582"/>
                  <a:pt x="272869" y="532432"/>
                  <a:pt x="272663" y="532384"/>
                </a:cubicBezTo>
                <a:cubicBezTo>
                  <a:pt x="263949" y="530131"/>
                  <a:pt x="239864" y="523102"/>
                  <a:pt x="223112" y="507120"/>
                </a:cubicBezTo>
                <a:cubicBezTo>
                  <a:pt x="212391" y="497174"/>
                  <a:pt x="202304" y="486546"/>
                  <a:pt x="191591" y="476599"/>
                </a:cubicBezTo>
                <a:cubicBezTo>
                  <a:pt x="182953" y="468587"/>
                  <a:pt x="163929" y="452408"/>
                  <a:pt x="162617" y="451972"/>
                </a:cubicBezTo>
                <a:cubicBezTo>
                  <a:pt x="162436" y="452126"/>
                  <a:pt x="162368" y="452880"/>
                  <a:pt x="162428" y="452957"/>
                </a:cubicBezTo>
                <a:cubicBezTo>
                  <a:pt x="165215" y="456676"/>
                  <a:pt x="175243" y="479427"/>
                  <a:pt x="181367" y="491071"/>
                </a:cubicBezTo>
                <a:cubicBezTo>
                  <a:pt x="190210" y="507885"/>
                  <a:pt x="201952" y="521275"/>
                  <a:pt x="219235" y="527602"/>
                </a:cubicBezTo>
                <a:cubicBezTo>
                  <a:pt x="219330" y="527636"/>
                  <a:pt x="219459" y="527728"/>
                  <a:pt x="219527" y="527801"/>
                </a:cubicBezTo>
                <a:cubicBezTo>
                  <a:pt x="219922" y="528217"/>
                  <a:pt x="219364" y="528731"/>
                  <a:pt x="218146" y="528537"/>
                </a:cubicBezTo>
                <a:lnTo>
                  <a:pt x="217837" y="528484"/>
                </a:lnTo>
                <a:cubicBezTo>
                  <a:pt x="198452" y="525340"/>
                  <a:pt x="179471" y="524492"/>
                  <a:pt x="159803" y="523465"/>
                </a:cubicBezTo>
                <a:cubicBezTo>
                  <a:pt x="144922" y="522685"/>
                  <a:pt x="129569" y="521697"/>
                  <a:pt x="115321" y="516814"/>
                </a:cubicBezTo>
                <a:cubicBezTo>
                  <a:pt x="105844" y="513563"/>
                  <a:pt x="98484" y="510661"/>
                  <a:pt x="87059" y="501893"/>
                </a:cubicBezTo>
                <a:cubicBezTo>
                  <a:pt x="86948" y="501825"/>
                  <a:pt x="86304" y="501636"/>
                  <a:pt x="85747" y="501927"/>
                </a:cubicBezTo>
                <a:cubicBezTo>
                  <a:pt x="85712" y="501946"/>
                  <a:pt x="85747" y="502033"/>
                  <a:pt x="85782" y="502082"/>
                </a:cubicBezTo>
                <a:cubicBezTo>
                  <a:pt x="98656" y="521363"/>
                  <a:pt x="121206" y="537456"/>
                  <a:pt x="139501" y="544267"/>
                </a:cubicBezTo>
                <a:cubicBezTo>
                  <a:pt x="155591" y="550259"/>
                  <a:pt x="172824" y="552076"/>
                  <a:pt x="190133" y="550860"/>
                </a:cubicBezTo>
                <a:close/>
                <a:moveTo>
                  <a:pt x="175105" y="511218"/>
                </a:moveTo>
                <a:cubicBezTo>
                  <a:pt x="176194" y="511451"/>
                  <a:pt x="177301" y="511611"/>
                  <a:pt x="178991" y="511901"/>
                </a:cubicBezTo>
                <a:cubicBezTo>
                  <a:pt x="179025" y="511911"/>
                  <a:pt x="179085" y="511824"/>
                  <a:pt x="179085" y="511775"/>
                </a:cubicBezTo>
                <a:cubicBezTo>
                  <a:pt x="179033" y="511354"/>
                  <a:pt x="178887" y="511078"/>
                  <a:pt x="178887" y="511078"/>
                </a:cubicBezTo>
                <a:cubicBezTo>
                  <a:pt x="178887" y="511078"/>
                  <a:pt x="177996" y="510148"/>
                  <a:pt x="177816" y="509968"/>
                </a:cubicBezTo>
                <a:cubicBezTo>
                  <a:pt x="166004" y="498279"/>
                  <a:pt x="158731" y="483882"/>
                  <a:pt x="153148" y="468535"/>
                </a:cubicBezTo>
                <a:cubicBezTo>
                  <a:pt x="149039" y="457224"/>
                  <a:pt x="145239" y="445802"/>
                  <a:pt x="141276" y="434439"/>
                </a:cubicBezTo>
                <a:cubicBezTo>
                  <a:pt x="135667" y="418390"/>
                  <a:pt x="123642" y="392726"/>
                  <a:pt x="109197" y="376213"/>
                </a:cubicBezTo>
                <a:cubicBezTo>
                  <a:pt x="109171" y="376179"/>
                  <a:pt x="109043" y="376093"/>
                  <a:pt x="109017" y="376127"/>
                </a:cubicBezTo>
                <a:cubicBezTo>
                  <a:pt x="108855" y="376351"/>
                  <a:pt x="108580" y="376838"/>
                  <a:pt x="108717" y="377284"/>
                </a:cubicBezTo>
                <a:cubicBezTo>
                  <a:pt x="113546" y="391629"/>
                  <a:pt x="113837" y="407696"/>
                  <a:pt x="115896" y="422571"/>
                </a:cubicBezTo>
                <a:cubicBezTo>
                  <a:pt x="121806" y="465194"/>
                  <a:pt x="141465" y="485306"/>
                  <a:pt x="142117" y="486061"/>
                </a:cubicBezTo>
                <a:cubicBezTo>
                  <a:pt x="142632" y="486657"/>
                  <a:pt x="142159" y="487244"/>
                  <a:pt x="141697" y="486900"/>
                </a:cubicBezTo>
                <a:cubicBezTo>
                  <a:pt x="140830" y="486255"/>
                  <a:pt x="140102" y="485722"/>
                  <a:pt x="139235" y="485005"/>
                </a:cubicBezTo>
                <a:cubicBezTo>
                  <a:pt x="125872" y="473951"/>
                  <a:pt x="112336" y="467293"/>
                  <a:pt x="96623" y="460001"/>
                </a:cubicBezTo>
                <a:cubicBezTo>
                  <a:pt x="84032" y="454165"/>
                  <a:pt x="73387" y="449084"/>
                  <a:pt x="61928" y="441106"/>
                </a:cubicBezTo>
                <a:cubicBezTo>
                  <a:pt x="38315" y="424953"/>
                  <a:pt x="28682" y="412348"/>
                  <a:pt x="28142" y="411663"/>
                </a:cubicBezTo>
                <a:cubicBezTo>
                  <a:pt x="27790" y="411397"/>
                  <a:pt x="27258" y="411372"/>
                  <a:pt x="26924" y="411500"/>
                </a:cubicBezTo>
                <a:cubicBezTo>
                  <a:pt x="28519" y="417318"/>
                  <a:pt x="30921" y="422520"/>
                  <a:pt x="33486" y="427832"/>
                </a:cubicBezTo>
                <a:cubicBezTo>
                  <a:pt x="43358" y="448269"/>
                  <a:pt x="58488" y="464234"/>
                  <a:pt x="76363" y="477953"/>
                </a:cubicBezTo>
                <a:cubicBezTo>
                  <a:pt x="94187" y="491618"/>
                  <a:pt x="113512" y="499471"/>
                  <a:pt x="135633" y="503152"/>
                </a:cubicBezTo>
                <a:cubicBezTo>
                  <a:pt x="148867" y="505357"/>
                  <a:pt x="161948" y="508510"/>
                  <a:pt x="175105" y="511218"/>
                </a:cubicBezTo>
                <a:close/>
                <a:moveTo>
                  <a:pt x="66002" y="423677"/>
                </a:moveTo>
                <a:cubicBezTo>
                  <a:pt x="79263" y="432520"/>
                  <a:pt x="99377" y="444371"/>
                  <a:pt x="106435" y="448870"/>
                </a:cubicBezTo>
                <a:cubicBezTo>
                  <a:pt x="106470" y="448895"/>
                  <a:pt x="106547" y="448912"/>
                  <a:pt x="106547" y="448912"/>
                </a:cubicBezTo>
                <a:cubicBezTo>
                  <a:pt x="106547" y="448912"/>
                  <a:pt x="107036" y="448056"/>
                  <a:pt x="106856" y="447593"/>
                </a:cubicBezTo>
                <a:cubicBezTo>
                  <a:pt x="106821" y="447498"/>
                  <a:pt x="106796" y="447396"/>
                  <a:pt x="106752" y="447310"/>
                </a:cubicBezTo>
                <a:cubicBezTo>
                  <a:pt x="97952" y="429915"/>
                  <a:pt x="96640" y="410943"/>
                  <a:pt x="95096" y="391766"/>
                </a:cubicBezTo>
                <a:cubicBezTo>
                  <a:pt x="93767" y="375168"/>
                  <a:pt x="96812" y="354431"/>
                  <a:pt x="95954" y="338304"/>
                </a:cubicBezTo>
                <a:cubicBezTo>
                  <a:pt x="95242" y="324936"/>
                  <a:pt x="90996" y="310541"/>
                  <a:pt x="87608" y="299049"/>
                </a:cubicBezTo>
                <a:cubicBezTo>
                  <a:pt x="87137" y="297516"/>
                  <a:pt x="86948" y="297233"/>
                  <a:pt x="86939" y="297173"/>
                </a:cubicBezTo>
                <a:cubicBezTo>
                  <a:pt x="86648" y="297198"/>
                  <a:pt x="86210" y="297798"/>
                  <a:pt x="86107" y="298055"/>
                </a:cubicBezTo>
                <a:cubicBezTo>
                  <a:pt x="86073" y="298149"/>
                  <a:pt x="86099" y="298167"/>
                  <a:pt x="86081" y="298261"/>
                </a:cubicBezTo>
                <a:cubicBezTo>
                  <a:pt x="84332" y="318038"/>
                  <a:pt x="77238" y="335673"/>
                  <a:pt x="74674" y="351834"/>
                </a:cubicBezTo>
                <a:cubicBezTo>
                  <a:pt x="71663" y="370780"/>
                  <a:pt x="73807" y="395228"/>
                  <a:pt x="78834" y="409050"/>
                </a:cubicBezTo>
                <a:cubicBezTo>
                  <a:pt x="79125" y="409855"/>
                  <a:pt x="78336" y="410052"/>
                  <a:pt x="78053" y="409606"/>
                </a:cubicBezTo>
                <a:cubicBezTo>
                  <a:pt x="67614" y="393728"/>
                  <a:pt x="45014" y="370831"/>
                  <a:pt x="33271" y="358724"/>
                </a:cubicBezTo>
                <a:cubicBezTo>
                  <a:pt x="18295" y="342974"/>
                  <a:pt x="8028" y="328329"/>
                  <a:pt x="2350" y="310240"/>
                </a:cubicBezTo>
                <a:cubicBezTo>
                  <a:pt x="2307" y="310112"/>
                  <a:pt x="1535" y="309564"/>
                  <a:pt x="1355" y="309641"/>
                </a:cubicBezTo>
                <a:cubicBezTo>
                  <a:pt x="1252" y="309829"/>
                  <a:pt x="1192" y="311337"/>
                  <a:pt x="1174" y="312194"/>
                </a:cubicBezTo>
                <a:cubicBezTo>
                  <a:pt x="754" y="337507"/>
                  <a:pt x="9058" y="362357"/>
                  <a:pt x="23356" y="382991"/>
                </a:cubicBezTo>
                <a:cubicBezTo>
                  <a:pt x="34806" y="399503"/>
                  <a:pt x="49448" y="412631"/>
                  <a:pt x="66002" y="423677"/>
                </a:cubicBezTo>
                <a:close/>
                <a:moveTo>
                  <a:pt x="59037" y="364260"/>
                </a:moveTo>
                <a:cubicBezTo>
                  <a:pt x="59055" y="364233"/>
                  <a:pt x="59088" y="364294"/>
                  <a:pt x="59115" y="364285"/>
                </a:cubicBezTo>
                <a:cubicBezTo>
                  <a:pt x="59749" y="363813"/>
                  <a:pt x="59698" y="363651"/>
                  <a:pt x="59501" y="362134"/>
                </a:cubicBezTo>
                <a:cubicBezTo>
                  <a:pt x="57657" y="343925"/>
                  <a:pt x="60650" y="329152"/>
                  <a:pt x="66637" y="311920"/>
                </a:cubicBezTo>
                <a:cubicBezTo>
                  <a:pt x="75583" y="286178"/>
                  <a:pt x="84229" y="259623"/>
                  <a:pt x="87042" y="232511"/>
                </a:cubicBezTo>
                <a:cubicBezTo>
                  <a:pt x="87420" y="228895"/>
                  <a:pt x="87771" y="223317"/>
                  <a:pt x="87668" y="221620"/>
                </a:cubicBezTo>
                <a:cubicBezTo>
                  <a:pt x="87437" y="221517"/>
                  <a:pt x="86673" y="221997"/>
                  <a:pt x="86639" y="222091"/>
                </a:cubicBezTo>
                <a:cubicBezTo>
                  <a:pt x="82770" y="231766"/>
                  <a:pt x="73705" y="246153"/>
                  <a:pt x="68472" y="254370"/>
                </a:cubicBezTo>
                <a:cubicBezTo>
                  <a:pt x="58437" y="270138"/>
                  <a:pt x="46986" y="285827"/>
                  <a:pt x="45614" y="304773"/>
                </a:cubicBezTo>
                <a:cubicBezTo>
                  <a:pt x="45262" y="309589"/>
                  <a:pt x="45305" y="315913"/>
                  <a:pt x="45948" y="321037"/>
                </a:cubicBezTo>
                <a:cubicBezTo>
                  <a:pt x="45957" y="321148"/>
                  <a:pt x="45760" y="321646"/>
                  <a:pt x="45348" y="321526"/>
                </a:cubicBezTo>
                <a:cubicBezTo>
                  <a:pt x="45279" y="321500"/>
                  <a:pt x="45073" y="321397"/>
                  <a:pt x="45014" y="321158"/>
                </a:cubicBezTo>
                <a:cubicBezTo>
                  <a:pt x="43804" y="316547"/>
                  <a:pt x="42415" y="311020"/>
                  <a:pt x="40648" y="305065"/>
                </a:cubicBezTo>
                <a:cubicBezTo>
                  <a:pt x="31419" y="273797"/>
                  <a:pt x="9289" y="254174"/>
                  <a:pt x="9409" y="208467"/>
                </a:cubicBezTo>
                <a:cubicBezTo>
                  <a:pt x="9349" y="208261"/>
                  <a:pt x="8817" y="207472"/>
                  <a:pt x="8509" y="207464"/>
                </a:cubicBezTo>
                <a:cubicBezTo>
                  <a:pt x="8019" y="208184"/>
                  <a:pt x="6596" y="211500"/>
                  <a:pt x="5403" y="215331"/>
                </a:cubicBezTo>
                <a:cubicBezTo>
                  <a:pt x="-14325" y="278869"/>
                  <a:pt x="25723" y="324473"/>
                  <a:pt x="33666" y="334140"/>
                </a:cubicBezTo>
                <a:cubicBezTo>
                  <a:pt x="41008" y="343068"/>
                  <a:pt x="52921" y="355442"/>
                  <a:pt x="59037" y="364260"/>
                </a:cubicBezTo>
                <a:close/>
                <a:moveTo>
                  <a:pt x="30372" y="237961"/>
                </a:moveTo>
                <a:cubicBezTo>
                  <a:pt x="34643" y="250172"/>
                  <a:pt x="40373" y="268243"/>
                  <a:pt x="41617" y="272905"/>
                </a:cubicBezTo>
                <a:cubicBezTo>
                  <a:pt x="41651" y="273051"/>
                  <a:pt x="42440" y="272708"/>
                  <a:pt x="42535" y="272340"/>
                </a:cubicBezTo>
                <a:cubicBezTo>
                  <a:pt x="45957" y="259306"/>
                  <a:pt x="60152" y="233908"/>
                  <a:pt x="69030" y="221988"/>
                </a:cubicBezTo>
                <a:cubicBezTo>
                  <a:pt x="69664" y="221131"/>
                  <a:pt x="70308" y="220292"/>
                  <a:pt x="70943" y="219443"/>
                </a:cubicBezTo>
                <a:cubicBezTo>
                  <a:pt x="79786" y="207772"/>
                  <a:pt x="89221" y="196410"/>
                  <a:pt x="95096" y="182853"/>
                </a:cubicBezTo>
                <a:cubicBezTo>
                  <a:pt x="99162" y="173462"/>
                  <a:pt x="105458" y="153299"/>
                  <a:pt x="105861" y="151397"/>
                </a:cubicBezTo>
                <a:cubicBezTo>
                  <a:pt x="105869" y="151328"/>
                  <a:pt x="105629" y="151311"/>
                  <a:pt x="105338" y="151354"/>
                </a:cubicBezTo>
                <a:cubicBezTo>
                  <a:pt x="105200" y="151294"/>
                  <a:pt x="104694" y="151320"/>
                  <a:pt x="104300" y="151568"/>
                </a:cubicBezTo>
                <a:cubicBezTo>
                  <a:pt x="104205" y="151620"/>
                  <a:pt x="104111" y="151697"/>
                  <a:pt x="104025" y="151782"/>
                </a:cubicBezTo>
                <a:cubicBezTo>
                  <a:pt x="103973" y="151825"/>
                  <a:pt x="103922" y="151885"/>
                  <a:pt x="103879" y="151962"/>
                </a:cubicBezTo>
                <a:cubicBezTo>
                  <a:pt x="97558" y="161680"/>
                  <a:pt x="86759" y="172828"/>
                  <a:pt x="79503" y="179092"/>
                </a:cubicBezTo>
                <a:cubicBezTo>
                  <a:pt x="67812" y="188621"/>
                  <a:pt x="58694" y="195879"/>
                  <a:pt x="51644" y="209863"/>
                </a:cubicBezTo>
                <a:cubicBezTo>
                  <a:pt x="50889" y="211354"/>
                  <a:pt x="49988" y="213419"/>
                  <a:pt x="49096" y="215596"/>
                </a:cubicBezTo>
                <a:cubicBezTo>
                  <a:pt x="46952" y="220635"/>
                  <a:pt x="44816" y="226641"/>
                  <a:pt x="44790" y="226761"/>
                </a:cubicBezTo>
                <a:cubicBezTo>
                  <a:pt x="44713" y="227146"/>
                  <a:pt x="44044" y="227712"/>
                  <a:pt x="43804" y="226975"/>
                </a:cubicBezTo>
                <a:cubicBezTo>
                  <a:pt x="43606" y="226350"/>
                  <a:pt x="44979" y="209863"/>
                  <a:pt x="45099" y="207627"/>
                </a:cubicBezTo>
                <a:cubicBezTo>
                  <a:pt x="45768" y="194233"/>
                  <a:pt x="43203" y="181088"/>
                  <a:pt x="41411" y="167807"/>
                </a:cubicBezTo>
                <a:cubicBezTo>
                  <a:pt x="39164" y="151149"/>
                  <a:pt x="37628" y="137327"/>
                  <a:pt x="42200" y="117729"/>
                </a:cubicBezTo>
                <a:cubicBezTo>
                  <a:pt x="42508" y="116401"/>
                  <a:pt x="42886" y="115073"/>
                  <a:pt x="43272" y="113762"/>
                </a:cubicBezTo>
                <a:cubicBezTo>
                  <a:pt x="43564" y="112759"/>
                  <a:pt x="43795" y="111988"/>
                  <a:pt x="44121" y="110986"/>
                </a:cubicBezTo>
                <a:cubicBezTo>
                  <a:pt x="44172" y="110814"/>
                  <a:pt x="43924" y="110034"/>
                  <a:pt x="43632" y="109931"/>
                </a:cubicBezTo>
                <a:cubicBezTo>
                  <a:pt x="26066" y="131251"/>
                  <a:pt x="16142" y="170266"/>
                  <a:pt x="20440" y="200335"/>
                </a:cubicBezTo>
                <a:cubicBezTo>
                  <a:pt x="21958" y="210934"/>
                  <a:pt x="29488" y="235433"/>
                  <a:pt x="30372" y="237961"/>
                </a:cubicBezTo>
                <a:close/>
                <a:moveTo>
                  <a:pt x="55709" y="171783"/>
                </a:moveTo>
                <a:cubicBezTo>
                  <a:pt x="55709" y="176238"/>
                  <a:pt x="55624" y="180009"/>
                  <a:pt x="55401" y="182382"/>
                </a:cubicBezTo>
                <a:lnTo>
                  <a:pt x="55418" y="182399"/>
                </a:lnTo>
                <a:cubicBezTo>
                  <a:pt x="55409" y="182459"/>
                  <a:pt x="55409" y="182537"/>
                  <a:pt x="55401" y="182597"/>
                </a:cubicBezTo>
                <a:cubicBezTo>
                  <a:pt x="55375" y="182853"/>
                  <a:pt x="56113" y="182391"/>
                  <a:pt x="56113" y="182391"/>
                </a:cubicBezTo>
                <a:lnTo>
                  <a:pt x="56284" y="182203"/>
                </a:lnTo>
                <a:cubicBezTo>
                  <a:pt x="60092" y="177361"/>
                  <a:pt x="71912" y="162725"/>
                  <a:pt x="88132" y="149169"/>
                </a:cubicBezTo>
                <a:cubicBezTo>
                  <a:pt x="97224" y="141654"/>
                  <a:pt x="106796" y="134439"/>
                  <a:pt x="115313" y="126315"/>
                </a:cubicBezTo>
                <a:cubicBezTo>
                  <a:pt x="127150" y="115013"/>
                  <a:pt x="134063" y="95939"/>
                  <a:pt x="136113" y="85630"/>
                </a:cubicBezTo>
                <a:cubicBezTo>
                  <a:pt x="136259" y="84722"/>
                  <a:pt x="136422" y="84010"/>
                  <a:pt x="136387" y="83650"/>
                </a:cubicBezTo>
                <a:cubicBezTo>
                  <a:pt x="136165" y="83565"/>
                  <a:pt x="135435" y="83822"/>
                  <a:pt x="135332" y="83950"/>
                </a:cubicBezTo>
                <a:cubicBezTo>
                  <a:pt x="134123" y="85527"/>
                  <a:pt x="132896" y="87095"/>
                  <a:pt x="131713" y="88698"/>
                </a:cubicBezTo>
                <a:cubicBezTo>
                  <a:pt x="124816" y="98030"/>
                  <a:pt x="117568" y="103676"/>
                  <a:pt x="108056" y="109914"/>
                </a:cubicBezTo>
                <a:cubicBezTo>
                  <a:pt x="92042" y="120009"/>
                  <a:pt x="80806" y="127661"/>
                  <a:pt x="71748" y="139923"/>
                </a:cubicBezTo>
                <a:cubicBezTo>
                  <a:pt x="71680" y="140017"/>
                  <a:pt x="71602" y="140111"/>
                  <a:pt x="71534" y="140214"/>
                </a:cubicBezTo>
                <a:cubicBezTo>
                  <a:pt x="71122" y="140960"/>
                  <a:pt x="70308" y="140600"/>
                  <a:pt x="70557" y="139820"/>
                </a:cubicBezTo>
                <a:cubicBezTo>
                  <a:pt x="73310" y="130917"/>
                  <a:pt x="74485" y="125364"/>
                  <a:pt x="76397" y="117524"/>
                </a:cubicBezTo>
                <a:cubicBezTo>
                  <a:pt x="79528" y="104611"/>
                  <a:pt x="80952" y="87540"/>
                  <a:pt x="85799" y="76187"/>
                </a:cubicBezTo>
                <a:cubicBezTo>
                  <a:pt x="88860" y="68989"/>
                  <a:pt x="93243" y="62853"/>
                  <a:pt x="98870" y="57360"/>
                </a:cubicBezTo>
                <a:cubicBezTo>
                  <a:pt x="98930" y="57318"/>
                  <a:pt x="98982" y="57275"/>
                  <a:pt x="99008" y="57207"/>
                </a:cubicBezTo>
                <a:cubicBezTo>
                  <a:pt x="99239" y="56530"/>
                  <a:pt x="99119" y="55998"/>
                  <a:pt x="99085" y="56016"/>
                </a:cubicBezTo>
                <a:cubicBezTo>
                  <a:pt x="98244" y="56213"/>
                  <a:pt x="96932" y="56710"/>
                  <a:pt x="95954" y="57198"/>
                </a:cubicBezTo>
                <a:cubicBezTo>
                  <a:pt x="79185" y="65536"/>
                  <a:pt x="67975" y="79015"/>
                  <a:pt x="60436" y="95964"/>
                </a:cubicBezTo>
                <a:cubicBezTo>
                  <a:pt x="55795" y="106419"/>
                  <a:pt x="54560" y="117318"/>
                  <a:pt x="54534" y="128347"/>
                </a:cubicBezTo>
                <a:cubicBezTo>
                  <a:pt x="54526" y="132048"/>
                  <a:pt x="54646" y="135759"/>
                  <a:pt x="54817" y="139452"/>
                </a:cubicBezTo>
                <a:cubicBezTo>
                  <a:pt x="55255" y="148595"/>
                  <a:pt x="55700" y="161860"/>
                  <a:pt x="55709" y="171783"/>
                </a:cubicBezTo>
                <a:close/>
                <a:moveTo>
                  <a:pt x="90430" y="107892"/>
                </a:moveTo>
                <a:cubicBezTo>
                  <a:pt x="90430" y="107892"/>
                  <a:pt x="90670" y="107977"/>
                  <a:pt x="90816" y="107918"/>
                </a:cubicBezTo>
                <a:cubicBezTo>
                  <a:pt x="90876" y="107892"/>
                  <a:pt x="90944" y="107815"/>
                  <a:pt x="91014" y="107764"/>
                </a:cubicBezTo>
                <a:cubicBezTo>
                  <a:pt x="95585" y="104225"/>
                  <a:pt x="113854" y="90034"/>
                  <a:pt x="120142" y="83702"/>
                </a:cubicBezTo>
                <a:cubicBezTo>
                  <a:pt x="129645" y="75467"/>
                  <a:pt x="136559" y="65081"/>
                  <a:pt x="143550" y="54833"/>
                </a:cubicBezTo>
                <a:cubicBezTo>
                  <a:pt x="150832" y="44147"/>
                  <a:pt x="158628" y="33942"/>
                  <a:pt x="168338" y="25321"/>
                </a:cubicBezTo>
                <a:cubicBezTo>
                  <a:pt x="169135" y="24610"/>
                  <a:pt x="169727" y="24130"/>
                  <a:pt x="170533" y="23410"/>
                </a:cubicBezTo>
                <a:cubicBezTo>
                  <a:pt x="170628" y="23436"/>
                  <a:pt x="170825" y="22605"/>
                  <a:pt x="170654" y="22288"/>
                </a:cubicBezTo>
                <a:cubicBezTo>
                  <a:pt x="153945" y="26889"/>
                  <a:pt x="136739" y="33745"/>
                  <a:pt x="123788" y="44936"/>
                </a:cubicBezTo>
                <a:cubicBezTo>
                  <a:pt x="99685" y="63976"/>
                  <a:pt x="91425" y="102442"/>
                  <a:pt x="90465" y="107686"/>
                </a:cubicBezTo>
                <a:cubicBezTo>
                  <a:pt x="90456" y="107764"/>
                  <a:pt x="90430" y="107892"/>
                  <a:pt x="90430" y="107892"/>
                </a:cubicBezTo>
                <a:close/>
                <a:moveTo>
                  <a:pt x="361962" y="317499"/>
                </a:moveTo>
                <a:cubicBezTo>
                  <a:pt x="363849" y="314662"/>
                  <a:pt x="359140" y="312871"/>
                  <a:pt x="357913" y="317798"/>
                </a:cubicBezTo>
                <a:cubicBezTo>
                  <a:pt x="356764" y="322383"/>
                  <a:pt x="360066" y="320326"/>
                  <a:pt x="361962" y="317499"/>
                </a:cubicBezTo>
                <a:close/>
                <a:moveTo>
                  <a:pt x="413348" y="198801"/>
                </a:moveTo>
                <a:cubicBezTo>
                  <a:pt x="411522" y="197850"/>
                  <a:pt x="404007" y="207001"/>
                  <a:pt x="405209" y="208483"/>
                </a:cubicBezTo>
                <a:cubicBezTo>
                  <a:pt x="405749" y="209075"/>
                  <a:pt x="414009" y="199238"/>
                  <a:pt x="413348" y="198801"/>
                </a:cubicBezTo>
                <a:close/>
                <a:moveTo>
                  <a:pt x="414961" y="197181"/>
                </a:moveTo>
                <a:cubicBezTo>
                  <a:pt x="416093" y="197772"/>
                  <a:pt x="421077" y="195065"/>
                  <a:pt x="420150" y="194336"/>
                </a:cubicBezTo>
                <a:cubicBezTo>
                  <a:pt x="419232" y="193599"/>
                  <a:pt x="413374" y="190892"/>
                  <a:pt x="413254" y="192545"/>
                </a:cubicBezTo>
                <a:cubicBezTo>
                  <a:pt x="413083" y="195236"/>
                  <a:pt x="413820" y="196590"/>
                  <a:pt x="414961" y="197181"/>
                </a:cubicBezTo>
                <a:close/>
                <a:moveTo>
                  <a:pt x="505468" y="276444"/>
                </a:moveTo>
                <a:cubicBezTo>
                  <a:pt x="503111" y="276547"/>
                  <a:pt x="500556" y="279958"/>
                  <a:pt x="501274" y="280001"/>
                </a:cubicBezTo>
                <a:cubicBezTo>
                  <a:pt x="502971" y="280086"/>
                  <a:pt x="504265" y="281303"/>
                  <a:pt x="505633" y="281003"/>
                </a:cubicBezTo>
                <a:cubicBezTo>
                  <a:pt x="508135" y="280446"/>
                  <a:pt x="507830" y="276350"/>
                  <a:pt x="505468" y="276444"/>
                </a:cubicBezTo>
                <a:close/>
                <a:moveTo>
                  <a:pt x="472669" y="191097"/>
                </a:moveTo>
                <a:cubicBezTo>
                  <a:pt x="470636" y="191149"/>
                  <a:pt x="470121" y="193359"/>
                  <a:pt x="472077" y="194362"/>
                </a:cubicBezTo>
                <a:cubicBezTo>
                  <a:pt x="472952" y="194816"/>
                  <a:pt x="475739" y="194405"/>
                  <a:pt x="477018" y="193599"/>
                </a:cubicBezTo>
                <a:cubicBezTo>
                  <a:pt x="478364" y="192751"/>
                  <a:pt x="479934" y="191697"/>
                  <a:pt x="479642" y="189640"/>
                </a:cubicBezTo>
                <a:cubicBezTo>
                  <a:pt x="479470" y="188389"/>
                  <a:pt x="476554" y="184859"/>
                  <a:pt x="478081" y="183505"/>
                </a:cubicBezTo>
                <a:cubicBezTo>
                  <a:pt x="479728" y="182031"/>
                  <a:pt x="481392" y="184319"/>
                  <a:pt x="483004" y="183693"/>
                </a:cubicBezTo>
                <a:cubicBezTo>
                  <a:pt x="484971" y="182931"/>
                  <a:pt x="484789" y="181808"/>
                  <a:pt x="484849" y="180138"/>
                </a:cubicBezTo>
                <a:cubicBezTo>
                  <a:pt x="484927" y="177824"/>
                  <a:pt x="484000" y="174782"/>
                  <a:pt x="481315" y="174782"/>
                </a:cubicBezTo>
                <a:cubicBezTo>
                  <a:pt x="479316" y="174782"/>
                  <a:pt x="475843" y="180129"/>
                  <a:pt x="475688" y="180454"/>
                </a:cubicBezTo>
                <a:cubicBezTo>
                  <a:pt x="475422" y="181037"/>
                  <a:pt x="474865" y="182991"/>
                  <a:pt x="475722" y="184979"/>
                </a:cubicBezTo>
                <a:cubicBezTo>
                  <a:pt x="476915" y="187747"/>
                  <a:pt x="476451" y="190994"/>
                  <a:pt x="472669" y="191097"/>
                </a:cubicBezTo>
                <a:close/>
                <a:moveTo>
                  <a:pt x="517125" y="191466"/>
                </a:moveTo>
                <a:cubicBezTo>
                  <a:pt x="517067" y="192700"/>
                  <a:pt x="520631" y="201286"/>
                  <a:pt x="520995" y="203625"/>
                </a:cubicBezTo>
                <a:cubicBezTo>
                  <a:pt x="521354" y="205964"/>
                  <a:pt x="522091" y="212974"/>
                  <a:pt x="523977" y="212254"/>
                </a:cubicBezTo>
                <a:cubicBezTo>
                  <a:pt x="525170" y="211791"/>
                  <a:pt x="525058" y="207498"/>
                  <a:pt x="524801" y="205836"/>
                </a:cubicBezTo>
                <a:cubicBezTo>
                  <a:pt x="524040" y="200960"/>
                  <a:pt x="523051" y="196745"/>
                  <a:pt x="521252" y="191268"/>
                </a:cubicBezTo>
                <a:cubicBezTo>
                  <a:pt x="520297" y="188355"/>
                  <a:pt x="516165" y="178844"/>
                  <a:pt x="514793" y="179177"/>
                </a:cubicBezTo>
                <a:cubicBezTo>
                  <a:pt x="513576" y="179469"/>
                  <a:pt x="516844" y="186101"/>
                  <a:pt x="517324" y="188261"/>
                </a:cubicBezTo>
                <a:cubicBezTo>
                  <a:pt x="517639" y="189666"/>
                  <a:pt x="517193" y="190223"/>
                  <a:pt x="517125" y="191466"/>
                </a:cubicBezTo>
                <a:close/>
                <a:moveTo>
                  <a:pt x="493631" y="76958"/>
                </a:moveTo>
                <a:cubicBezTo>
                  <a:pt x="495828" y="77789"/>
                  <a:pt x="495818" y="73693"/>
                  <a:pt x="492089" y="70668"/>
                </a:cubicBezTo>
                <a:cubicBezTo>
                  <a:pt x="488380" y="67652"/>
                  <a:pt x="483442" y="69118"/>
                  <a:pt x="484780" y="70609"/>
                </a:cubicBezTo>
                <a:cubicBezTo>
                  <a:pt x="485989" y="71945"/>
                  <a:pt x="491687" y="76213"/>
                  <a:pt x="493631" y="76958"/>
                </a:cubicBezTo>
                <a:close/>
                <a:moveTo>
                  <a:pt x="392480" y="47935"/>
                </a:moveTo>
                <a:cubicBezTo>
                  <a:pt x="388071" y="45090"/>
                  <a:pt x="391759" y="41166"/>
                  <a:pt x="388234" y="38527"/>
                </a:cubicBezTo>
                <a:cubicBezTo>
                  <a:pt x="385764" y="36675"/>
                  <a:pt x="378842" y="38509"/>
                  <a:pt x="377126" y="40703"/>
                </a:cubicBezTo>
                <a:cubicBezTo>
                  <a:pt x="374150" y="44550"/>
                  <a:pt x="380969" y="43273"/>
                  <a:pt x="383440" y="44370"/>
                </a:cubicBezTo>
                <a:cubicBezTo>
                  <a:pt x="386202" y="45587"/>
                  <a:pt x="392129" y="50677"/>
                  <a:pt x="393183" y="49649"/>
                </a:cubicBezTo>
                <a:cubicBezTo>
                  <a:pt x="394230" y="48612"/>
                  <a:pt x="392968" y="48389"/>
                  <a:pt x="392480" y="47935"/>
                </a:cubicBezTo>
                <a:close/>
                <a:moveTo>
                  <a:pt x="419275" y="34465"/>
                </a:moveTo>
                <a:cubicBezTo>
                  <a:pt x="413339" y="31757"/>
                  <a:pt x="390987" y="31876"/>
                  <a:pt x="391570" y="37686"/>
                </a:cubicBezTo>
                <a:cubicBezTo>
                  <a:pt x="392051" y="42648"/>
                  <a:pt x="404480" y="37986"/>
                  <a:pt x="407696" y="37712"/>
                </a:cubicBezTo>
                <a:cubicBezTo>
                  <a:pt x="410921" y="37430"/>
                  <a:pt x="424516" y="37155"/>
                  <a:pt x="419275" y="34465"/>
                </a:cubicBezTo>
                <a:close/>
                <a:moveTo>
                  <a:pt x="353873" y="294294"/>
                </a:moveTo>
                <a:cubicBezTo>
                  <a:pt x="353581" y="293188"/>
                  <a:pt x="351643" y="293368"/>
                  <a:pt x="352124" y="294388"/>
                </a:cubicBezTo>
                <a:cubicBezTo>
                  <a:pt x="352604" y="295407"/>
                  <a:pt x="351540" y="296444"/>
                  <a:pt x="352535" y="297721"/>
                </a:cubicBezTo>
                <a:cubicBezTo>
                  <a:pt x="353839" y="299118"/>
                  <a:pt x="356652" y="298947"/>
                  <a:pt x="358068" y="297790"/>
                </a:cubicBezTo>
                <a:cubicBezTo>
                  <a:pt x="358883" y="296907"/>
                  <a:pt x="358368" y="295236"/>
                  <a:pt x="357750" y="294911"/>
                </a:cubicBezTo>
                <a:cubicBezTo>
                  <a:pt x="356678" y="294379"/>
                  <a:pt x="354165" y="295399"/>
                  <a:pt x="353873" y="294294"/>
                </a:cubicBezTo>
                <a:close/>
                <a:moveTo>
                  <a:pt x="345262" y="249872"/>
                </a:moveTo>
                <a:cubicBezTo>
                  <a:pt x="347106" y="249872"/>
                  <a:pt x="347038" y="248492"/>
                  <a:pt x="348109" y="248544"/>
                </a:cubicBezTo>
                <a:cubicBezTo>
                  <a:pt x="349190" y="248587"/>
                  <a:pt x="348307" y="249941"/>
                  <a:pt x="350176" y="249941"/>
                </a:cubicBezTo>
                <a:cubicBezTo>
                  <a:pt x="352029" y="249941"/>
                  <a:pt x="353977" y="245168"/>
                  <a:pt x="348015" y="245168"/>
                </a:cubicBezTo>
                <a:cubicBezTo>
                  <a:pt x="343160" y="245168"/>
                  <a:pt x="343804" y="249804"/>
                  <a:pt x="345262" y="249871"/>
                </a:cubicBezTo>
                <a:close/>
                <a:moveTo>
                  <a:pt x="352998" y="254807"/>
                </a:moveTo>
                <a:cubicBezTo>
                  <a:pt x="349293" y="253856"/>
                  <a:pt x="350048" y="255965"/>
                  <a:pt x="347775" y="256213"/>
                </a:cubicBezTo>
                <a:cubicBezTo>
                  <a:pt x="344009" y="256625"/>
                  <a:pt x="347355" y="253436"/>
                  <a:pt x="345502" y="251971"/>
                </a:cubicBezTo>
                <a:cubicBezTo>
                  <a:pt x="344687" y="251329"/>
                  <a:pt x="342474" y="254550"/>
                  <a:pt x="342311" y="256564"/>
                </a:cubicBezTo>
                <a:cubicBezTo>
                  <a:pt x="342208" y="257532"/>
                  <a:pt x="342183" y="260814"/>
                  <a:pt x="343778" y="260917"/>
                </a:cubicBezTo>
                <a:cubicBezTo>
                  <a:pt x="345373" y="261020"/>
                  <a:pt x="353762" y="261980"/>
                  <a:pt x="356558" y="262614"/>
                </a:cubicBezTo>
                <a:cubicBezTo>
                  <a:pt x="359758" y="263351"/>
                  <a:pt x="356430" y="255691"/>
                  <a:pt x="352998" y="254807"/>
                </a:cubicBezTo>
                <a:close/>
                <a:moveTo>
                  <a:pt x="311699" y="299290"/>
                </a:moveTo>
                <a:cubicBezTo>
                  <a:pt x="312840" y="299290"/>
                  <a:pt x="313663" y="295245"/>
                  <a:pt x="312960" y="293257"/>
                </a:cubicBezTo>
                <a:cubicBezTo>
                  <a:pt x="312248" y="291269"/>
                  <a:pt x="308577" y="292760"/>
                  <a:pt x="308251" y="293685"/>
                </a:cubicBezTo>
                <a:cubicBezTo>
                  <a:pt x="307934" y="294619"/>
                  <a:pt x="310550" y="299290"/>
                  <a:pt x="311699" y="299290"/>
                </a:cubicBezTo>
                <a:close/>
                <a:moveTo>
                  <a:pt x="257567" y="298887"/>
                </a:moveTo>
                <a:cubicBezTo>
                  <a:pt x="257731" y="297147"/>
                  <a:pt x="257585" y="292057"/>
                  <a:pt x="256366" y="291072"/>
                </a:cubicBezTo>
                <a:cubicBezTo>
                  <a:pt x="255149" y="290095"/>
                  <a:pt x="255312" y="291937"/>
                  <a:pt x="254437" y="291835"/>
                </a:cubicBezTo>
                <a:cubicBezTo>
                  <a:pt x="253760" y="291757"/>
                  <a:pt x="253819" y="289392"/>
                  <a:pt x="252961" y="289401"/>
                </a:cubicBezTo>
                <a:cubicBezTo>
                  <a:pt x="252104" y="289401"/>
                  <a:pt x="253253" y="293445"/>
                  <a:pt x="254171" y="295793"/>
                </a:cubicBezTo>
                <a:cubicBezTo>
                  <a:pt x="255089" y="298149"/>
                  <a:pt x="257353" y="301997"/>
                  <a:pt x="257567" y="298887"/>
                </a:cubicBezTo>
                <a:close/>
                <a:moveTo>
                  <a:pt x="256264" y="286530"/>
                </a:moveTo>
                <a:cubicBezTo>
                  <a:pt x="256547" y="285930"/>
                  <a:pt x="258399" y="277455"/>
                  <a:pt x="258116" y="274216"/>
                </a:cubicBezTo>
                <a:cubicBezTo>
                  <a:pt x="257825" y="270986"/>
                  <a:pt x="256101" y="267935"/>
                  <a:pt x="255664" y="268158"/>
                </a:cubicBezTo>
                <a:cubicBezTo>
                  <a:pt x="255080" y="268458"/>
                  <a:pt x="255929" y="270395"/>
                  <a:pt x="256032" y="273531"/>
                </a:cubicBezTo>
                <a:cubicBezTo>
                  <a:pt x="256187" y="278218"/>
                  <a:pt x="253973" y="282117"/>
                  <a:pt x="253973" y="283660"/>
                </a:cubicBezTo>
                <a:cubicBezTo>
                  <a:pt x="253965" y="285116"/>
                  <a:pt x="255363" y="288415"/>
                  <a:pt x="256264" y="286530"/>
                </a:cubicBezTo>
                <a:close/>
                <a:moveTo>
                  <a:pt x="111728" y="256564"/>
                </a:moveTo>
                <a:cubicBezTo>
                  <a:pt x="111728" y="187978"/>
                  <a:pt x="138429" y="123539"/>
                  <a:pt x="186908" y="75107"/>
                </a:cubicBezTo>
                <a:cubicBezTo>
                  <a:pt x="235378" y="26675"/>
                  <a:pt x="299888" y="0"/>
                  <a:pt x="368541" y="0"/>
                </a:cubicBezTo>
                <a:cubicBezTo>
                  <a:pt x="437193" y="0"/>
                  <a:pt x="501695" y="26675"/>
                  <a:pt x="550172" y="75107"/>
                </a:cubicBezTo>
                <a:cubicBezTo>
                  <a:pt x="598653" y="123539"/>
                  <a:pt x="625352" y="187978"/>
                  <a:pt x="625352" y="256564"/>
                </a:cubicBezTo>
                <a:cubicBezTo>
                  <a:pt x="625352" y="325150"/>
                  <a:pt x="598653" y="389598"/>
                  <a:pt x="550172" y="438021"/>
                </a:cubicBezTo>
                <a:cubicBezTo>
                  <a:pt x="501695" y="486454"/>
                  <a:pt x="437193" y="513127"/>
                  <a:pt x="368541" y="513127"/>
                </a:cubicBezTo>
                <a:cubicBezTo>
                  <a:pt x="299888" y="513127"/>
                  <a:pt x="235378" y="486454"/>
                  <a:pt x="186908" y="438021"/>
                </a:cubicBezTo>
                <a:cubicBezTo>
                  <a:pt x="138429" y="389598"/>
                  <a:pt x="111728" y="325150"/>
                  <a:pt x="111728" y="256564"/>
                </a:cubicBezTo>
                <a:close/>
                <a:moveTo>
                  <a:pt x="190836" y="426350"/>
                </a:moveTo>
                <a:lnTo>
                  <a:pt x="218738" y="398475"/>
                </a:lnTo>
                <a:cubicBezTo>
                  <a:pt x="213248" y="392691"/>
                  <a:pt x="208093" y="386590"/>
                  <a:pt x="203299" y="380215"/>
                </a:cubicBezTo>
                <a:cubicBezTo>
                  <a:pt x="201137" y="379358"/>
                  <a:pt x="198941" y="378159"/>
                  <a:pt x="197432" y="376291"/>
                </a:cubicBezTo>
                <a:cubicBezTo>
                  <a:pt x="195047" y="373317"/>
                  <a:pt x="193795" y="368964"/>
                  <a:pt x="192663" y="368964"/>
                </a:cubicBezTo>
                <a:cubicBezTo>
                  <a:pt x="191522" y="368973"/>
                  <a:pt x="192569" y="371732"/>
                  <a:pt x="190030" y="372100"/>
                </a:cubicBezTo>
                <a:cubicBezTo>
                  <a:pt x="186573" y="372605"/>
                  <a:pt x="181693" y="364020"/>
                  <a:pt x="179788" y="360892"/>
                </a:cubicBezTo>
                <a:cubicBezTo>
                  <a:pt x="177541" y="357207"/>
                  <a:pt x="173853" y="357173"/>
                  <a:pt x="172043" y="353719"/>
                </a:cubicBezTo>
                <a:cubicBezTo>
                  <a:pt x="171520" y="352726"/>
                  <a:pt x="170267" y="349675"/>
                  <a:pt x="169110" y="351483"/>
                </a:cubicBezTo>
                <a:cubicBezTo>
                  <a:pt x="167197" y="354551"/>
                  <a:pt x="160635" y="344799"/>
                  <a:pt x="158963" y="345468"/>
                </a:cubicBezTo>
                <a:cubicBezTo>
                  <a:pt x="157239" y="346136"/>
                  <a:pt x="158757" y="348167"/>
                  <a:pt x="157788" y="349023"/>
                </a:cubicBezTo>
                <a:cubicBezTo>
                  <a:pt x="155910" y="350695"/>
                  <a:pt x="150385" y="341552"/>
                  <a:pt x="148318" y="342486"/>
                </a:cubicBezTo>
                <a:cubicBezTo>
                  <a:pt x="146380" y="343368"/>
                  <a:pt x="145934" y="344542"/>
                  <a:pt x="145822" y="346968"/>
                </a:cubicBezTo>
                <a:cubicBezTo>
                  <a:pt x="145719" y="349487"/>
                  <a:pt x="148842" y="355965"/>
                  <a:pt x="147743" y="356470"/>
                </a:cubicBezTo>
                <a:cubicBezTo>
                  <a:pt x="146183" y="357181"/>
                  <a:pt x="138197" y="336865"/>
                  <a:pt x="139938" y="335939"/>
                </a:cubicBezTo>
                <a:cubicBezTo>
                  <a:pt x="140916" y="335417"/>
                  <a:pt x="140762" y="336865"/>
                  <a:pt x="141868" y="336205"/>
                </a:cubicBezTo>
                <a:cubicBezTo>
                  <a:pt x="143009" y="335519"/>
                  <a:pt x="141070" y="334114"/>
                  <a:pt x="140548" y="331911"/>
                </a:cubicBezTo>
                <a:cubicBezTo>
                  <a:pt x="139999" y="329607"/>
                  <a:pt x="138000" y="329555"/>
                  <a:pt x="137828" y="327019"/>
                </a:cubicBezTo>
                <a:cubicBezTo>
                  <a:pt x="137674" y="324491"/>
                  <a:pt x="141285" y="325339"/>
                  <a:pt x="141243" y="324105"/>
                </a:cubicBezTo>
                <a:cubicBezTo>
                  <a:pt x="141199" y="322872"/>
                  <a:pt x="141525" y="321466"/>
                  <a:pt x="142545" y="320584"/>
                </a:cubicBezTo>
                <a:cubicBezTo>
                  <a:pt x="143738" y="319555"/>
                  <a:pt x="146526" y="320634"/>
                  <a:pt x="147126" y="317070"/>
                </a:cubicBezTo>
                <a:cubicBezTo>
                  <a:pt x="147641" y="314028"/>
                  <a:pt x="149176" y="316848"/>
                  <a:pt x="149494" y="319109"/>
                </a:cubicBezTo>
                <a:cubicBezTo>
                  <a:pt x="149863" y="321731"/>
                  <a:pt x="156570" y="322391"/>
                  <a:pt x="156896" y="320592"/>
                </a:cubicBezTo>
                <a:cubicBezTo>
                  <a:pt x="157093" y="319452"/>
                  <a:pt x="154185" y="319495"/>
                  <a:pt x="154185" y="318484"/>
                </a:cubicBezTo>
                <a:cubicBezTo>
                  <a:pt x="154176" y="316547"/>
                  <a:pt x="157873" y="318398"/>
                  <a:pt x="160395" y="318621"/>
                </a:cubicBezTo>
                <a:cubicBezTo>
                  <a:pt x="161493" y="318715"/>
                  <a:pt x="163475" y="316942"/>
                  <a:pt x="165979" y="318235"/>
                </a:cubicBezTo>
                <a:cubicBezTo>
                  <a:pt x="168707" y="319649"/>
                  <a:pt x="170388" y="320335"/>
                  <a:pt x="172198" y="320626"/>
                </a:cubicBezTo>
                <a:cubicBezTo>
                  <a:pt x="166125" y="302109"/>
                  <a:pt x="162599" y="282443"/>
                  <a:pt x="162068" y="262048"/>
                </a:cubicBezTo>
                <a:lnTo>
                  <a:pt x="122766" y="262048"/>
                </a:lnTo>
                <a:cubicBezTo>
                  <a:pt x="124113" y="323823"/>
                  <a:pt x="148121" y="381774"/>
                  <a:pt x="190836" y="426350"/>
                </a:cubicBezTo>
                <a:close/>
                <a:moveTo>
                  <a:pt x="352955" y="198903"/>
                </a:moveTo>
                <a:cubicBezTo>
                  <a:pt x="353230" y="199323"/>
                  <a:pt x="350382" y="201911"/>
                  <a:pt x="348924" y="204422"/>
                </a:cubicBezTo>
                <a:cubicBezTo>
                  <a:pt x="353470" y="202717"/>
                  <a:pt x="358196" y="201620"/>
                  <a:pt x="363051" y="201149"/>
                </a:cubicBezTo>
                <a:lnTo>
                  <a:pt x="363051" y="161783"/>
                </a:lnTo>
                <a:cubicBezTo>
                  <a:pt x="340973" y="163051"/>
                  <a:pt x="320894" y="171877"/>
                  <a:pt x="305369" y="185707"/>
                </a:cubicBezTo>
                <a:lnTo>
                  <a:pt x="333185" y="213496"/>
                </a:lnTo>
                <a:cubicBezTo>
                  <a:pt x="336385" y="210875"/>
                  <a:pt x="339858" y="208604"/>
                  <a:pt x="343598" y="206727"/>
                </a:cubicBezTo>
                <a:cubicBezTo>
                  <a:pt x="344567" y="206247"/>
                  <a:pt x="345544" y="205802"/>
                  <a:pt x="346531" y="205382"/>
                </a:cubicBezTo>
                <a:cubicBezTo>
                  <a:pt x="348435" y="202057"/>
                  <a:pt x="352595" y="198355"/>
                  <a:pt x="352955" y="198903"/>
                </a:cubicBezTo>
                <a:close/>
                <a:moveTo>
                  <a:pt x="255835" y="345674"/>
                </a:moveTo>
                <a:cubicBezTo>
                  <a:pt x="255843" y="346453"/>
                  <a:pt x="255809" y="347224"/>
                  <a:pt x="255646" y="347953"/>
                </a:cubicBezTo>
                <a:cubicBezTo>
                  <a:pt x="257687" y="350455"/>
                  <a:pt x="259772" y="352914"/>
                  <a:pt x="261968" y="355279"/>
                </a:cubicBezTo>
                <a:lnTo>
                  <a:pt x="289835" y="327438"/>
                </a:lnTo>
                <a:cubicBezTo>
                  <a:pt x="276720" y="312914"/>
                  <a:pt x="267577" y="294756"/>
                  <a:pt x="264095" y="274679"/>
                </a:cubicBezTo>
                <a:cubicBezTo>
                  <a:pt x="263263" y="274902"/>
                  <a:pt x="262517" y="274791"/>
                  <a:pt x="262053" y="273985"/>
                </a:cubicBezTo>
                <a:cubicBezTo>
                  <a:pt x="261488" y="273008"/>
                  <a:pt x="262311" y="272014"/>
                  <a:pt x="263512" y="271020"/>
                </a:cubicBezTo>
                <a:cubicBezTo>
                  <a:pt x="263109" y="268064"/>
                  <a:pt x="262817" y="265073"/>
                  <a:pt x="262663" y="262048"/>
                </a:cubicBezTo>
                <a:lnTo>
                  <a:pt x="244110" y="262048"/>
                </a:lnTo>
                <a:cubicBezTo>
                  <a:pt x="244299" y="264996"/>
                  <a:pt x="245482" y="269246"/>
                  <a:pt x="243535" y="270729"/>
                </a:cubicBezTo>
                <a:cubicBezTo>
                  <a:pt x="241931" y="271945"/>
                  <a:pt x="239658" y="270712"/>
                  <a:pt x="238208" y="270909"/>
                </a:cubicBezTo>
                <a:cubicBezTo>
                  <a:pt x="234649" y="271388"/>
                  <a:pt x="233834" y="275681"/>
                  <a:pt x="234777" y="278595"/>
                </a:cubicBezTo>
                <a:cubicBezTo>
                  <a:pt x="235395" y="280558"/>
                  <a:pt x="236252" y="282074"/>
                  <a:pt x="235910" y="284191"/>
                </a:cubicBezTo>
                <a:cubicBezTo>
                  <a:pt x="235592" y="286179"/>
                  <a:pt x="234511" y="287729"/>
                  <a:pt x="237659" y="289392"/>
                </a:cubicBezTo>
                <a:cubicBezTo>
                  <a:pt x="240541" y="290901"/>
                  <a:pt x="245208" y="296813"/>
                  <a:pt x="244822" y="297832"/>
                </a:cubicBezTo>
                <a:cubicBezTo>
                  <a:pt x="244324" y="299144"/>
                  <a:pt x="241459" y="296607"/>
                  <a:pt x="241280" y="298981"/>
                </a:cubicBezTo>
                <a:cubicBezTo>
                  <a:pt x="241168" y="300437"/>
                  <a:pt x="245508" y="298569"/>
                  <a:pt x="245259" y="303505"/>
                </a:cubicBezTo>
                <a:cubicBezTo>
                  <a:pt x="245113" y="306375"/>
                  <a:pt x="245834" y="309520"/>
                  <a:pt x="246666" y="311492"/>
                </a:cubicBezTo>
                <a:cubicBezTo>
                  <a:pt x="248381" y="315596"/>
                  <a:pt x="250354" y="318304"/>
                  <a:pt x="250182" y="322931"/>
                </a:cubicBezTo>
                <a:cubicBezTo>
                  <a:pt x="250046" y="326770"/>
                  <a:pt x="249368" y="330952"/>
                  <a:pt x="251049" y="334568"/>
                </a:cubicBezTo>
                <a:cubicBezTo>
                  <a:pt x="252782" y="338287"/>
                  <a:pt x="255818" y="341294"/>
                  <a:pt x="255835" y="345674"/>
                </a:cubicBezTo>
                <a:close/>
                <a:moveTo>
                  <a:pt x="232668" y="279444"/>
                </a:moveTo>
                <a:cubicBezTo>
                  <a:pt x="230377" y="276821"/>
                  <a:pt x="234186" y="269366"/>
                  <a:pt x="234752" y="267901"/>
                </a:cubicBezTo>
                <a:cubicBezTo>
                  <a:pt x="235361" y="266350"/>
                  <a:pt x="238818" y="264354"/>
                  <a:pt x="239855" y="262048"/>
                </a:cubicBezTo>
                <a:lnTo>
                  <a:pt x="223344" y="262048"/>
                </a:lnTo>
                <a:cubicBezTo>
                  <a:pt x="223661" y="270678"/>
                  <a:pt x="224751" y="279161"/>
                  <a:pt x="226534" y="287455"/>
                </a:cubicBezTo>
                <a:cubicBezTo>
                  <a:pt x="230498" y="288904"/>
                  <a:pt x="238115" y="285673"/>
                  <a:pt x="232668" y="279444"/>
                </a:cubicBezTo>
                <a:close/>
                <a:moveTo>
                  <a:pt x="222306" y="385519"/>
                </a:moveTo>
                <a:cubicBezTo>
                  <a:pt x="222186" y="385587"/>
                  <a:pt x="222049" y="385639"/>
                  <a:pt x="221912" y="385691"/>
                </a:cubicBezTo>
                <a:cubicBezTo>
                  <a:pt x="223413" y="387395"/>
                  <a:pt x="224940" y="389075"/>
                  <a:pt x="226501" y="390720"/>
                </a:cubicBezTo>
                <a:lnTo>
                  <a:pt x="229649" y="387576"/>
                </a:lnTo>
                <a:cubicBezTo>
                  <a:pt x="226697" y="385716"/>
                  <a:pt x="223979" y="384542"/>
                  <a:pt x="222306" y="385519"/>
                </a:cubicBezTo>
                <a:close/>
                <a:moveTo>
                  <a:pt x="289835" y="185690"/>
                </a:moveTo>
                <a:lnTo>
                  <a:pt x="262045" y="157926"/>
                </a:lnTo>
                <a:cubicBezTo>
                  <a:pt x="239135" y="182588"/>
                  <a:pt x="224691" y="215193"/>
                  <a:pt x="223352" y="251080"/>
                </a:cubicBezTo>
                <a:lnTo>
                  <a:pt x="242823" y="251080"/>
                </a:lnTo>
                <a:cubicBezTo>
                  <a:pt x="246083" y="245836"/>
                  <a:pt x="244976" y="241842"/>
                  <a:pt x="246066" y="238792"/>
                </a:cubicBezTo>
                <a:cubicBezTo>
                  <a:pt x="247112" y="235887"/>
                  <a:pt x="248827" y="233222"/>
                  <a:pt x="250440" y="230609"/>
                </a:cubicBezTo>
                <a:cubicBezTo>
                  <a:pt x="251872" y="228304"/>
                  <a:pt x="253502" y="225707"/>
                  <a:pt x="256504" y="225690"/>
                </a:cubicBezTo>
                <a:cubicBezTo>
                  <a:pt x="262851" y="225656"/>
                  <a:pt x="264429" y="222339"/>
                  <a:pt x="268452" y="220498"/>
                </a:cubicBezTo>
                <a:cubicBezTo>
                  <a:pt x="272475" y="218655"/>
                  <a:pt x="279594" y="217567"/>
                  <a:pt x="278788" y="215467"/>
                </a:cubicBezTo>
                <a:cubicBezTo>
                  <a:pt x="278239" y="214054"/>
                  <a:pt x="263932" y="219597"/>
                  <a:pt x="263623" y="218518"/>
                </a:cubicBezTo>
                <a:cubicBezTo>
                  <a:pt x="263083" y="216624"/>
                  <a:pt x="268135" y="216804"/>
                  <a:pt x="270262" y="214884"/>
                </a:cubicBezTo>
                <a:cubicBezTo>
                  <a:pt x="270682" y="214491"/>
                  <a:pt x="271094" y="214251"/>
                  <a:pt x="271488" y="214054"/>
                </a:cubicBezTo>
                <a:cubicBezTo>
                  <a:pt x="276086" y="203616"/>
                  <a:pt x="282288" y="194045"/>
                  <a:pt x="289835" y="185690"/>
                </a:cubicBezTo>
                <a:close/>
                <a:moveTo>
                  <a:pt x="284826" y="211672"/>
                </a:moveTo>
                <a:cubicBezTo>
                  <a:pt x="285203" y="211508"/>
                  <a:pt x="285581" y="211329"/>
                  <a:pt x="285975" y="211106"/>
                </a:cubicBezTo>
                <a:cubicBezTo>
                  <a:pt x="290744" y="208381"/>
                  <a:pt x="297014" y="208903"/>
                  <a:pt x="299682" y="210060"/>
                </a:cubicBezTo>
                <a:cubicBezTo>
                  <a:pt x="303121" y="211560"/>
                  <a:pt x="307521" y="215382"/>
                  <a:pt x="309520" y="216907"/>
                </a:cubicBezTo>
                <a:cubicBezTo>
                  <a:pt x="310387" y="217567"/>
                  <a:pt x="310798" y="216341"/>
                  <a:pt x="314847" y="215733"/>
                </a:cubicBezTo>
                <a:cubicBezTo>
                  <a:pt x="316536" y="215485"/>
                  <a:pt x="316923" y="217181"/>
                  <a:pt x="319333" y="217524"/>
                </a:cubicBezTo>
                <a:cubicBezTo>
                  <a:pt x="320302" y="217661"/>
                  <a:pt x="321099" y="217704"/>
                  <a:pt x="321829" y="217652"/>
                </a:cubicBezTo>
                <a:lnTo>
                  <a:pt x="297606" y="193462"/>
                </a:lnTo>
                <a:cubicBezTo>
                  <a:pt x="292674" y="198989"/>
                  <a:pt x="288377" y="205107"/>
                  <a:pt x="284826" y="211672"/>
                </a:cubicBezTo>
                <a:close/>
                <a:moveTo>
                  <a:pt x="257550" y="241568"/>
                </a:moveTo>
                <a:cubicBezTo>
                  <a:pt x="254471" y="241251"/>
                  <a:pt x="251349" y="242528"/>
                  <a:pt x="249694" y="245202"/>
                </a:cubicBezTo>
                <a:cubicBezTo>
                  <a:pt x="248536" y="247053"/>
                  <a:pt x="248210" y="249126"/>
                  <a:pt x="248604" y="251080"/>
                </a:cubicBezTo>
                <a:lnTo>
                  <a:pt x="262663" y="251080"/>
                </a:lnTo>
                <a:cubicBezTo>
                  <a:pt x="262800" y="248424"/>
                  <a:pt x="263040" y="245793"/>
                  <a:pt x="263366" y="243196"/>
                </a:cubicBezTo>
                <a:cubicBezTo>
                  <a:pt x="261555" y="242254"/>
                  <a:pt x="259403" y="241757"/>
                  <a:pt x="257550" y="241568"/>
                </a:cubicBezTo>
                <a:close/>
                <a:moveTo>
                  <a:pt x="297615" y="319675"/>
                </a:moveTo>
                <a:lnTo>
                  <a:pt x="325448" y="291860"/>
                </a:lnTo>
                <a:cubicBezTo>
                  <a:pt x="323175" y="289100"/>
                  <a:pt x="321185" y="286110"/>
                  <a:pt x="319469" y="282948"/>
                </a:cubicBezTo>
                <a:lnTo>
                  <a:pt x="319461" y="282965"/>
                </a:lnTo>
                <a:cubicBezTo>
                  <a:pt x="319024" y="283471"/>
                  <a:pt x="318655" y="283985"/>
                  <a:pt x="318432" y="284474"/>
                </a:cubicBezTo>
                <a:cubicBezTo>
                  <a:pt x="317858" y="285716"/>
                  <a:pt x="318603" y="289855"/>
                  <a:pt x="316880" y="291629"/>
                </a:cubicBezTo>
                <a:cubicBezTo>
                  <a:pt x="314658" y="293925"/>
                  <a:pt x="308689" y="286573"/>
                  <a:pt x="306801" y="285965"/>
                </a:cubicBezTo>
                <a:cubicBezTo>
                  <a:pt x="304237" y="285159"/>
                  <a:pt x="303010" y="287978"/>
                  <a:pt x="303147" y="288792"/>
                </a:cubicBezTo>
                <a:cubicBezTo>
                  <a:pt x="303490" y="290909"/>
                  <a:pt x="303062" y="291757"/>
                  <a:pt x="302135" y="291946"/>
                </a:cubicBezTo>
                <a:cubicBezTo>
                  <a:pt x="301208" y="292126"/>
                  <a:pt x="296543" y="288955"/>
                  <a:pt x="298627" y="288158"/>
                </a:cubicBezTo>
                <a:cubicBezTo>
                  <a:pt x="301055" y="287242"/>
                  <a:pt x="297992" y="285150"/>
                  <a:pt x="296946" y="284336"/>
                </a:cubicBezTo>
                <a:cubicBezTo>
                  <a:pt x="295145" y="282948"/>
                  <a:pt x="292332" y="284242"/>
                  <a:pt x="291010" y="282400"/>
                </a:cubicBezTo>
                <a:cubicBezTo>
                  <a:pt x="289595" y="280420"/>
                  <a:pt x="286928" y="278998"/>
                  <a:pt x="286104" y="278758"/>
                </a:cubicBezTo>
                <a:cubicBezTo>
                  <a:pt x="285546" y="278595"/>
                  <a:pt x="282810" y="277438"/>
                  <a:pt x="281018" y="278381"/>
                </a:cubicBezTo>
                <a:cubicBezTo>
                  <a:pt x="279611" y="279135"/>
                  <a:pt x="278093" y="277601"/>
                  <a:pt x="277038" y="276573"/>
                </a:cubicBezTo>
                <a:cubicBezTo>
                  <a:pt x="276455" y="276007"/>
                  <a:pt x="275871" y="275348"/>
                  <a:pt x="275254" y="274705"/>
                </a:cubicBezTo>
                <a:cubicBezTo>
                  <a:pt x="278573" y="291757"/>
                  <a:pt x="286473" y="307190"/>
                  <a:pt x="297615" y="319675"/>
                </a:cubicBezTo>
                <a:close/>
                <a:moveTo>
                  <a:pt x="325474" y="271646"/>
                </a:moveTo>
                <a:cubicBezTo>
                  <a:pt x="325482" y="271406"/>
                  <a:pt x="325500" y="271157"/>
                  <a:pt x="325526" y="270909"/>
                </a:cubicBezTo>
                <a:cubicBezTo>
                  <a:pt x="325534" y="270840"/>
                  <a:pt x="325534" y="270772"/>
                  <a:pt x="325543" y="270712"/>
                </a:cubicBezTo>
                <a:cubicBezTo>
                  <a:pt x="325560" y="270523"/>
                  <a:pt x="325585" y="270335"/>
                  <a:pt x="325602" y="270146"/>
                </a:cubicBezTo>
                <a:cubicBezTo>
                  <a:pt x="325620" y="270069"/>
                  <a:pt x="325628" y="269983"/>
                  <a:pt x="325637" y="269906"/>
                </a:cubicBezTo>
                <a:lnTo>
                  <a:pt x="325688" y="269546"/>
                </a:lnTo>
                <a:cubicBezTo>
                  <a:pt x="325706" y="269478"/>
                  <a:pt x="325714" y="269418"/>
                  <a:pt x="325723" y="269349"/>
                </a:cubicBezTo>
                <a:cubicBezTo>
                  <a:pt x="325731" y="269281"/>
                  <a:pt x="325748" y="269204"/>
                  <a:pt x="325757" y="269135"/>
                </a:cubicBezTo>
                <a:cubicBezTo>
                  <a:pt x="325800" y="268878"/>
                  <a:pt x="325851" y="268629"/>
                  <a:pt x="325911" y="268389"/>
                </a:cubicBezTo>
                <a:lnTo>
                  <a:pt x="325911" y="268372"/>
                </a:lnTo>
                <a:cubicBezTo>
                  <a:pt x="325963" y="268141"/>
                  <a:pt x="326023" y="267910"/>
                  <a:pt x="326092" y="267695"/>
                </a:cubicBezTo>
                <a:cubicBezTo>
                  <a:pt x="326109" y="267618"/>
                  <a:pt x="326134" y="267558"/>
                  <a:pt x="326152" y="267490"/>
                </a:cubicBezTo>
                <a:cubicBezTo>
                  <a:pt x="326203" y="267336"/>
                  <a:pt x="326246" y="267190"/>
                  <a:pt x="326306" y="267044"/>
                </a:cubicBezTo>
                <a:lnTo>
                  <a:pt x="326383" y="266838"/>
                </a:lnTo>
                <a:cubicBezTo>
                  <a:pt x="326443" y="266701"/>
                  <a:pt x="326495" y="266573"/>
                  <a:pt x="326563" y="266453"/>
                </a:cubicBezTo>
                <a:lnTo>
                  <a:pt x="326641" y="266290"/>
                </a:lnTo>
                <a:cubicBezTo>
                  <a:pt x="326734" y="266127"/>
                  <a:pt x="326829" y="265973"/>
                  <a:pt x="326932" y="265845"/>
                </a:cubicBezTo>
                <a:cubicBezTo>
                  <a:pt x="327292" y="265390"/>
                  <a:pt x="327773" y="265305"/>
                  <a:pt x="328339" y="265382"/>
                </a:cubicBezTo>
                <a:cubicBezTo>
                  <a:pt x="329316" y="265519"/>
                  <a:pt x="330543" y="266153"/>
                  <a:pt x="331735" y="266213"/>
                </a:cubicBezTo>
                <a:cubicBezTo>
                  <a:pt x="332593" y="266256"/>
                  <a:pt x="333433" y="266007"/>
                  <a:pt x="334163" y="265064"/>
                </a:cubicBezTo>
                <a:cubicBezTo>
                  <a:pt x="334497" y="264636"/>
                  <a:pt x="334806" y="264148"/>
                  <a:pt x="335029" y="263668"/>
                </a:cubicBezTo>
                <a:cubicBezTo>
                  <a:pt x="335261" y="263188"/>
                  <a:pt x="335406" y="262717"/>
                  <a:pt x="335415" y="262331"/>
                </a:cubicBezTo>
                <a:cubicBezTo>
                  <a:pt x="335415" y="262143"/>
                  <a:pt x="335389" y="261971"/>
                  <a:pt x="335321" y="261825"/>
                </a:cubicBezTo>
                <a:cubicBezTo>
                  <a:pt x="335115" y="261405"/>
                  <a:pt x="334548" y="261269"/>
                  <a:pt x="333433" y="261654"/>
                </a:cubicBezTo>
                <a:cubicBezTo>
                  <a:pt x="333202" y="261732"/>
                  <a:pt x="332979" y="261809"/>
                  <a:pt x="332748" y="261869"/>
                </a:cubicBezTo>
                <a:cubicBezTo>
                  <a:pt x="332284" y="261997"/>
                  <a:pt x="331830" y="262083"/>
                  <a:pt x="331392" y="262100"/>
                </a:cubicBezTo>
                <a:cubicBezTo>
                  <a:pt x="331169" y="262108"/>
                  <a:pt x="330963" y="262100"/>
                  <a:pt x="330758" y="262065"/>
                </a:cubicBezTo>
                <a:cubicBezTo>
                  <a:pt x="330140" y="261980"/>
                  <a:pt x="329600" y="261706"/>
                  <a:pt x="329188" y="261148"/>
                </a:cubicBezTo>
                <a:cubicBezTo>
                  <a:pt x="329059" y="260960"/>
                  <a:pt x="328939" y="260746"/>
                  <a:pt x="328836" y="260488"/>
                </a:cubicBezTo>
                <a:cubicBezTo>
                  <a:pt x="328708" y="260163"/>
                  <a:pt x="328553" y="259880"/>
                  <a:pt x="328373" y="259631"/>
                </a:cubicBezTo>
                <a:cubicBezTo>
                  <a:pt x="327679" y="258621"/>
                  <a:pt x="326658" y="258115"/>
                  <a:pt x="325594" y="257481"/>
                </a:cubicBezTo>
                <a:cubicBezTo>
                  <a:pt x="325062" y="257164"/>
                  <a:pt x="324522" y="256830"/>
                  <a:pt x="323999" y="256376"/>
                </a:cubicBezTo>
                <a:cubicBezTo>
                  <a:pt x="323742" y="256153"/>
                  <a:pt x="323484" y="255904"/>
                  <a:pt x="323244" y="255622"/>
                </a:cubicBezTo>
                <a:cubicBezTo>
                  <a:pt x="323047" y="255399"/>
                  <a:pt x="322858" y="255185"/>
                  <a:pt x="322661" y="254979"/>
                </a:cubicBezTo>
                <a:cubicBezTo>
                  <a:pt x="322583" y="254902"/>
                  <a:pt x="322506" y="254834"/>
                  <a:pt x="322429" y="254765"/>
                </a:cubicBezTo>
                <a:cubicBezTo>
                  <a:pt x="322300" y="254636"/>
                  <a:pt x="322180" y="254516"/>
                  <a:pt x="322043" y="254396"/>
                </a:cubicBezTo>
                <a:cubicBezTo>
                  <a:pt x="321949" y="254310"/>
                  <a:pt x="321846" y="254225"/>
                  <a:pt x="321751" y="254148"/>
                </a:cubicBezTo>
                <a:cubicBezTo>
                  <a:pt x="321640" y="254054"/>
                  <a:pt x="321528" y="253967"/>
                  <a:pt x="321417" y="253882"/>
                </a:cubicBezTo>
                <a:cubicBezTo>
                  <a:pt x="321297" y="253788"/>
                  <a:pt x="321185" y="253711"/>
                  <a:pt x="321065" y="253625"/>
                </a:cubicBezTo>
                <a:cubicBezTo>
                  <a:pt x="320970" y="253565"/>
                  <a:pt x="320868" y="253497"/>
                  <a:pt x="320765" y="253436"/>
                </a:cubicBezTo>
                <a:cubicBezTo>
                  <a:pt x="320636" y="253351"/>
                  <a:pt x="320508" y="253274"/>
                  <a:pt x="320370" y="253205"/>
                </a:cubicBezTo>
                <a:lnTo>
                  <a:pt x="320113" y="253077"/>
                </a:lnTo>
                <a:cubicBezTo>
                  <a:pt x="319967" y="253008"/>
                  <a:pt x="319813" y="252939"/>
                  <a:pt x="319667" y="252880"/>
                </a:cubicBezTo>
                <a:cubicBezTo>
                  <a:pt x="319598" y="252854"/>
                  <a:pt x="319530" y="252837"/>
                  <a:pt x="319461" y="252811"/>
                </a:cubicBezTo>
                <a:cubicBezTo>
                  <a:pt x="319290" y="252759"/>
                  <a:pt x="319118" y="252700"/>
                  <a:pt x="318947" y="252665"/>
                </a:cubicBezTo>
                <a:lnTo>
                  <a:pt x="318843" y="252648"/>
                </a:lnTo>
                <a:cubicBezTo>
                  <a:pt x="317531" y="252400"/>
                  <a:pt x="316159" y="252742"/>
                  <a:pt x="314829" y="254028"/>
                </a:cubicBezTo>
                <a:lnTo>
                  <a:pt x="314778" y="254071"/>
                </a:lnTo>
                <a:cubicBezTo>
                  <a:pt x="314572" y="254276"/>
                  <a:pt x="314358" y="254508"/>
                  <a:pt x="314152" y="254765"/>
                </a:cubicBezTo>
                <a:lnTo>
                  <a:pt x="314083" y="254842"/>
                </a:lnTo>
                <a:cubicBezTo>
                  <a:pt x="313878" y="255107"/>
                  <a:pt x="313671" y="255381"/>
                  <a:pt x="313466" y="255699"/>
                </a:cubicBezTo>
                <a:cubicBezTo>
                  <a:pt x="313457" y="255724"/>
                  <a:pt x="313440" y="255750"/>
                  <a:pt x="313414" y="255776"/>
                </a:cubicBezTo>
                <a:cubicBezTo>
                  <a:pt x="313208" y="256101"/>
                  <a:pt x="313002" y="256453"/>
                  <a:pt x="312797" y="256830"/>
                </a:cubicBezTo>
                <a:cubicBezTo>
                  <a:pt x="312368" y="257619"/>
                  <a:pt x="311956" y="258501"/>
                  <a:pt x="311562" y="259546"/>
                </a:cubicBezTo>
                <a:cubicBezTo>
                  <a:pt x="308371" y="267892"/>
                  <a:pt x="304674" y="265339"/>
                  <a:pt x="305283" y="268313"/>
                </a:cubicBezTo>
                <a:cubicBezTo>
                  <a:pt x="305351" y="268663"/>
                  <a:pt x="306252" y="268904"/>
                  <a:pt x="307556" y="269006"/>
                </a:cubicBezTo>
                <a:cubicBezTo>
                  <a:pt x="308079" y="269049"/>
                  <a:pt x="308671" y="269075"/>
                  <a:pt x="309288" y="269075"/>
                </a:cubicBezTo>
                <a:cubicBezTo>
                  <a:pt x="309915" y="269075"/>
                  <a:pt x="310584" y="269058"/>
                  <a:pt x="311253" y="269015"/>
                </a:cubicBezTo>
                <a:cubicBezTo>
                  <a:pt x="311931" y="268981"/>
                  <a:pt x="312616" y="268921"/>
                  <a:pt x="313285" y="268835"/>
                </a:cubicBezTo>
                <a:cubicBezTo>
                  <a:pt x="313620" y="268792"/>
                  <a:pt x="313946" y="268741"/>
                  <a:pt x="314264" y="268690"/>
                </a:cubicBezTo>
                <a:cubicBezTo>
                  <a:pt x="314460" y="268663"/>
                  <a:pt x="314640" y="268629"/>
                  <a:pt x="314829" y="268595"/>
                </a:cubicBezTo>
                <a:cubicBezTo>
                  <a:pt x="315010" y="268561"/>
                  <a:pt x="315189" y="268527"/>
                  <a:pt x="315370" y="268484"/>
                </a:cubicBezTo>
                <a:lnTo>
                  <a:pt x="315841" y="268381"/>
                </a:lnTo>
                <a:cubicBezTo>
                  <a:pt x="316048" y="268330"/>
                  <a:pt x="316236" y="268270"/>
                  <a:pt x="316425" y="268218"/>
                </a:cubicBezTo>
                <a:cubicBezTo>
                  <a:pt x="316545" y="268184"/>
                  <a:pt x="316665" y="268149"/>
                  <a:pt x="316768" y="268115"/>
                </a:cubicBezTo>
                <a:cubicBezTo>
                  <a:pt x="317068" y="268021"/>
                  <a:pt x="317343" y="267918"/>
                  <a:pt x="317583" y="267806"/>
                </a:cubicBezTo>
                <a:cubicBezTo>
                  <a:pt x="318011" y="267610"/>
                  <a:pt x="318449" y="267438"/>
                  <a:pt x="318878" y="267292"/>
                </a:cubicBezTo>
                <a:lnTo>
                  <a:pt x="318921" y="267284"/>
                </a:lnTo>
                <a:cubicBezTo>
                  <a:pt x="319332" y="267147"/>
                  <a:pt x="319744" y="267044"/>
                  <a:pt x="320139" y="266976"/>
                </a:cubicBezTo>
                <a:cubicBezTo>
                  <a:pt x="320970" y="266822"/>
                  <a:pt x="321734" y="266830"/>
                  <a:pt x="322335" y="267044"/>
                </a:cubicBezTo>
                <a:cubicBezTo>
                  <a:pt x="322772" y="267198"/>
                  <a:pt x="323673" y="267575"/>
                  <a:pt x="324316" y="268509"/>
                </a:cubicBezTo>
                <a:cubicBezTo>
                  <a:pt x="324848" y="269272"/>
                  <a:pt x="325354" y="270592"/>
                  <a:pt x="325474" y="271646"/>
                </a:cubicBezTo>
                <a:close/>
                <a:moveTo>
                  <a:pt x="363051" y="150797"/>
                </a:moveTo>
                <a:lnTo>
                  <a:pt x="363051" y="111517"/>
                </a:lnTo>
                <a:cubicBezTo>
                  <a:pt x="327120" y="112854"/>
                  <a:pt x="294484" y="127284"/>
                  <a:pt x="269798" y="150172"/>
                </a:cubicBezTo>
                <a:lnTo>
                  <a:pt x="297598" y="177935"/>
                </a:lnTo>
                <a:cubicBezTo>
                  <a:pt x="315130" y="162134"/>
                  <a:pt x="337945" y="152083"/>
                  <a:pt x="363051" y="150797"/>
                </a:cubicBezTo>
                <a:close/>
                <a:moveTo>
                  <a:pt x="363051" y="100540"/>
                </a:moveTo>
                <a:lnTo>
                  <a:pt x="363051" y="61260"/>
                </a:lnTo>
                <a:cubicBezTo>
                  <a:pt x="313268" y="62639"/>
                  <a:pt x="268075" y="82699"/>
                  <a:pt x="234255" y="114662"/>
                </a:cubicBezTo>
                <a:lnTo>
                  <a:pt x="262045" y="142416"/>
                </a:lnTo>
                <a:cubicBezTo>
                  <a:pt x="288720" y="117550"/>
                  <a:pt x="324093" y="101894"/>
                  <a:pt x="363051" y="100540"/>
                </a:cubicBezTo>
                <a:close/>
                <a:moveTo>
                  <a:pt x="226492" y="122408"/>
                </a:moveTo>
                <a:cubicBezTo>
                  <a:pt x="194507" y="156196"/>
                  <a:pt x="174428" y="201346"/>
                  <a:pt x="173055" y="251080"/>
                </a:cubicBezTo>
                <a:lnTo>
                  <a:pt x="212365" y="251080"/>
                </a:lnTo>
                <a:cubicBezTo>
                  <a:pt x="213721" y="212168"/>
                  <a:pt x="229391" y="176830"/>
                  <a:pt x="254282" y="150172"/>
                </a:cubicBezTo>
                <a:lnTo>
                  <a:pt x="226492" y="122408"/>
                </a:lnTo>
                <a:close/>
                <a:moveTo>
                  <a:pt x="173055" y="262048"/>
                </a:moveTo>
                <a:cubicBezTo>
                  <a:pt x="173613" y="282417"/>
                  <a:pt x="177318" y="302005"/>
                  <a:pt x="183683" y="320369"/>
                </a:cubicBezTo>
                <a:cubicBezTo>
                  <a:pt x="183914" y="320352"/>
                  <a:pt x="184129" y="320343"/>
                  <a:pt x="184360" y="320335"/>
                </a:cubicBezTo>
                <a:cubicBezTo>
                  <a:pt x="188349" y="320146"/>
                  <a:pt x="193684" y="320275"/>
                  <a:pt x="196197" y="318338"/>
                </a:cubicBezTo>
                <a:cubicBezTo>
                  <a:pt x="200065" y="315356"/>
                  <a:pt x="196488" y="304688"/>
                  <a:pt x="198916" y="300241"/>
                </a:cubicBezTo>
                <a:cubicBezTo>
                  <a:pt x="201909" y="294739"/>
                  <a:pt x="209389" y="281688"/>
                  <a:pt x="211636" y="281603"/>
                </a:cubicBezTo>
                <a:cubicBezTo>
                  <a:pt x="213626" y="281526"/>
                  <a:pt x="213540" y="283008"/>
                  <a:pt x="214552" y="283248"/>
                </a:cubicBezTo>
                <a:cubicBezTo>
                  <a:pt x="213360" y="276290"/>
                  <a:pt x="212614" y="269221"/>
                  <a:pt x="212373" y="262048"/>
                </a:cubicBezTo>
                <a:lnTo>
                  <a:pt x="173055" y="262048"/>
                </a:lnTo>
                <a:close/>
                <a:moveTo>
                  <a:pt x="363051" y="462837"/>
                </a:moveTo>
                <a:cubicBezTo>
                  <a:pt x="310241" y="461458"/>
                  <a:pt x="262302" y="440172"/>
                  <a:pt x="226492" y="406230"/>
                </a:cubicBezTo>
                <a:lnTo>
                  <a:pt x="198590" y="434105"/>
                </a:lnTo>
                <a:cubicBezTo>
                  <a:pt x="243209" y="476770"/>
                  <a:pt x="301218" y="500754"/>
                  <a:pt x="363051" y="502101"/>
                </a:cubicBezTo>
                <a:lnTo>
                  <a:pt x="363051" y="462837"/>
                </a:lnTo>
                <a:close/>
                <a:moveTo>
                  <a:pt x="363051" y="412597"/>
                </a:moveTo>
                <a:cubicBezTo>
                  <a:pt x="328176" y="411397"/>
                  <a:pt x="295334" y="398836"/>
                  <a:pt x="268735" y="376718"/>
                </a:cubicBezTo>
                <a:cubicBezTo>
                  <a:pt x="269335" y="377447"/>
                  <a:pt x="269859" y="378150"/>
                  <a:pt x="270262" y="378827"/>
                </a:cubicBezTo>
                <a:cubicBezTo>
                  <a:pt x="272072" y="381945"/>
                  <a:pt x="278367" y="388287"/>
                  <a:pt x="274362" y="390823"/>
                </a:cubicBezTo>
                <a:cubicBezTo>
                  <a:pt x="271034" y="392923"/>
                  <a:pt x="265519" y="391509"/>
                  <a:pt x="262431" y="391457"/>
                </a:cubicBezTo>
                <a:cubicBezTo>
                  <a:pt x="259026" y="391414"/>
                  <a:pt x="254077" y="396496"/>
                  <a:pt x="251161" y="397002"/>
                </a:cubicBezTo>
                <a:cubicBezTo>
                  <a:pt x="247447" y="397635"/>
                  <a:pt x="245319" y="397353"/>
                  <a:pt x="241845" y="395947"/>
                </a:cubicBezTo>
                <a:cubicBezTo>
                  <a:pt x="240988" y="395596"/>
                  <a:pt x="239907" y="394919"/>
                  <a:pt x="238680" y="394054"/>
                </a:cubicBezTo>
                <a:lnTo>
                  <a:pt x="234255" y="398475"/>
                </a:lnTo>
                <a:cubicBezTo>
                  <a:pt x="268075" y="430429"/>
                  <a:pt x="313268" y="450489"/>
                  <a:pt x="363051" y="451869"/>
                </a:cubicBezTo>
                <a:lnTo>
                  <a:pt x="363051" y="412597"/>
                </a:lnTo>
                <a:close/>
                <a:moveTo>
                  <a:pt x="363051" y="398792"/>
                </a:moveTo>
                <a:cubicBezTo>
                  <a:pt x="357519" y="399204"/>
                  <a:pt x="349156" y="399067"/>
                  <a:pt x="347174" y="397704"/>
                </a:cubicBezTo>
                <a:cubicBezTo>
                  <a:pt x="343049" y="394850"/>
                  <a:pt x="338134" y="392049"/>
                  <a:pt x="337576" y="389838"/>
                </a:cubicBezTo>
                <a:cubicBezTo>
                  <a:pt x="336581" y="385913"/>
                  <a:pt x="331204" y="382966"/>
                  <a:pt x="331204" y="379289"/>
                </a:cubicBezTo>
                <a:cubicBezTo>
                  <a:pt x="331204" y="375202"/>
                  <a:pt x="336856" y="373865"/>
                  <a:pt x="335346" y="369718"/>
                </a:cubicBezTo>
                <a:cubicBezTo>
                  <a:pt x="334137" y="366419"/>
                  <a:pt x="337353" y="362288"/>
                  <a:pt x="343238" y="359409"/>
                </a:cubicBezTo>
                <a:cubicBezTo>
                  <a:pt x="325989" y="355168"/>
                  <a:pt x="310387" y="346719"/>
                  <a:pt x="297598" y="335193"/>
                </a:cubicBezTo>
                <a:lnTo>
                  <a:pt x="269747" y="363017"/>
                </a:lnTo>
                <a:cubicBezTo>
                  <a:pt x="295342" y="386770"/>
                  <a:pt x="328098" y="400309"/>
                  <a:pt x="363051" y="401603"/>
                </a:cubicBezTo>
                <a:lnTo>
                  <a:pt x="363051" y="398792"/>
                </a:lnTo>
                <a:close/>
                <a:moveTo>
                  <a:pt x="371551" y="346307"/>
                </a:moveTo>
                <a:cubicBezTo>
                  <a:pt x="375737" y="345604"/>
                  <a:pt x="380180" y="344396"/>
                  <a:pt x="383954" y="344020"/>
                </a:cubicBezTo>
                <a:cubicBezTo>
                  <a:pt x="388088" y="343608"/>
                  <a:pt x="383782" y="349487"/>
                  <a:pt x="386235" y="349726"/>
                </a:cubicBezTo>
                <a:cubicBezTo>
                  <a:pt x="389169" y="350018"/>
                  <a:pt x="401228" y="352074"/>
                  <a:pt x="402078" y="349341"/>
                </a:cubicBezTo>
                <a:cubicBezTo>
                  <a:pt x="402773" y="347096"/>
                  <a:pt x="402936" y="346085"/>
                  <a:pt x="405526" y="345528"/>
                </a:cubicBezTo>
                <a:cubicBezTo>
                  <a:pt x="410406" y="344465"/>
                  <a:pt x="414274" y="344619"/>
                  <a:pt x="418409" y="341466"/>
                </a:cubicBezTo>
                <a:cubicBezTo>
                  <a:pt x="419901" y="340326"/>
                  <a:pt x="422981" y="339915"/>
                  <a:pt x="423864" y="338227"/>
                </a:cubicBezTo>
                <a:cubicBezTo>
                  <a:pt x="424747" y="336539"/>
                  <a:pt x="423229" y="328552"/>
                  <a:pt x="420253" y="329855"/>
                </a:cubicBezTo>
                <a:cubicBezTo>
                  <a:pt x="418803" y="330498"/>
                  <a:pt x="417054" y="332563"/>
                  <a:pt x="413957" y="334123"/>
                </a:cubicBezTo>
                <a:cubicBezTo>
                  <a:pt x="411153" y="335528"/>
                  <a:pt x="409162" y="336170"/>
                  <a:pt x="407173" y="333505"/>
                </a:cubicBezTo>
                <a:cubicBezTo>
                  <a:pt x="405354" y="331080"/>
                  <a:pt x="408236" y="329178"/>
                  <a:pt x="409729" y="327550"/>
                </a:cubicBezTo>
                <a:cubicBezTo>
                  <a:pt x="412036" y="325021"/>
                  <a:pt x="414128" y="322460"/>
                  <a:pt x="416694" y="322460"/>
                </a:cubicBezTo>
                <a:cubicBezTo>
                  <a:pt x="417689" y="322460"/>
                  <a:pt x="422989" y="319829"/>
                  <a:pt x="422543" y="317421"/>
                </a:cubicBezTo>
                <a:cubicBezTo>
                  <a:pt x="421960" y="314302"/>
                  <a:pt x="415801" y="317704"/>
                  <a:pt x="414369" y="316419"/>
                </a:cubicBezTo>
                <a:cubicBezTo>
                  <a:pt x="413374" y="315536"/>
                  <a:pt x="414352" y="313291"/>
                  <a:pt x="413579" y="312948"/>
                </a:cubicBezTo>
                <a:cubicBezTo>
                  <a:pt x="412859" y="312614"/>
                  <a:pt x="410587" y="315716"/>
                  <a:pt x="412345" y="317396"/>
                </a:cubicBezTo>
                <a:cubicBezTo>
                  <a:pt x="413254" y="318269"/>
                  <a:pt x="410869" y="320703"/>
                  <a:pt x="408194" y="318955"/>
                </a:cubicBezTo>
                <a:cubicBezTo>
                  <a:pt x="406135" y="317593"/>
                  <a:pt x="405603" y="325090"/>
                  <a:pt x="405783" y="326462"/>
                </a:cubicBezTo>
                <a:cubicBezTo>
                  <a:pt x="405964" y="327833"/>
                  <a:pt x="408802" y="327455"/>
                  <a:pt x="406916" y="329923"/>
                </a:cubicBezTo>
                <a:cubicBezTo>
                  <a:pt x="405020" y="332408"/>
                  <a:pt x="404317" y="330566"/>
                  <a:pt x="402918" y="331783"/>
                </a:cubicBezTo>
                <a:cubicBezTo>
                  <a:pt x="401237" y="333257"/>
                  <a:pt x="400860" y="333822"/>
                  <a:pt x="402918" y="335956"/>
                </a:cubicBezTo>
                <a:cubicBezTo>
                  <a:pt x="404565" y="337652"/>
                  <a:pt x="401949" y="340875"/>
                  <a:pt x="401340" y="337858"/>
                </a:cubicBezTo>
                <a:cubicBezTo>
                  <a:pt x="400937" y="335853"/>
                  <a:pt x="396717" y="336462"/>
                  <a:pt x="395920" y="334191"/>
                </a:cubicBezTo>
                <a:cubicBezTo>
                  <a:pt x="395096" y="331852"/>
                  <a:pt x="391665" y="332083"/>
                  <a:pt x="387496" y="329949"/>
                </a:cubicBezTo>
                <a:cubicBezTo>
                  <a:pt x="384340" y="328329"/>
                  <a:pt x="384743" y="333111"/>
                  <a:pt x="390095" y="334328"/>
                </a:cubicBezTo>
                <a:cubicBezTo>
                  <a:pt x="394641" y="335365"/>
                  <a:pt x="394410" y="335904"/>
                  <a:pt x="393106" y="338749"/>
                </a:cubicBezTo>
                <a:cubicBezTo>
                  <a:pt x="392042" y="341080"/>
                  <a:pt x="392248" y="336958"/>
                  <a:pt x="386844" y="335528"/>
                </a:cubicBezTo>
                <a:cubicBezTo>
                  <a:pt x="383370" y="334610"/>
                  <a:pt x="383208" y="332760"/>
                  <a:pt x="380471" y="332794"/>
                </a:cubicBezTo>
                <a:cubicBezTo>
                  <a:pt x="377701" y="332820"/>
                  <a:pt x="378610" y="335442"/>
                  <a:pt x="375685" y="334756"/>
                </a:cubicBezTo>
                <a:cubicBezTo>
                  <a:pt x="373472" y="334233"/>
                  <a:pt x="373129" y="337215"/>
                  <a:pt x="371088" y="338081"/>
                </a:cubicBezTo>
                <a:cubicBezTo>
                  <a:pt x="368600" y="339144"/>
                  <a:pt x="368747" y="343642"/>
                  <a:pt x="366216" y="344885"/>
                </a:cubicBezTo>
                <a:cubicBezTo>
                  <a:pt x="362451" y="346727"/>
                  <a:pt x="354731" y="345339"/>
                  <a:pt x="355083" y="341612"/>
                </a:cubicBezTo>
                <a:cubicBezTo>
                  <a:pt x="355435" y="337884"/>
                  <a:pt x="355606" y="335099"/>
                  <a:pt x="357768" y="333788"/>
                </a:cubicBezTo>
                <a:cubicBezTo>
                  <a:pt x="359671" y="332648"/>
                  <a:pt x="362811" y="335990"/>
                  <a:pt x="365453" y="334808"/>
                </a:cubicBezTo>
                <a:cubicBezTo>
                  <a:pt x="368215" y="333582"/>
                  <a:pt x="367520" y="330643"/>
                  <a:pt x="365847" y="328758"/>
                </a:cubicBezTo>
                <a:cubicBezTo>
                  <a:pt x="365350" y="328115"/>
                  <a:pt x="363326" y="327113"/>
                  <a:pt x="363368" y="326479"/>
                </a:cubicBezTo>
                <a:cubicBezTo>
                  <a:pt x="363411" y="325699"/>
                  <a:pt x="367348" y="325330"/>
                  <a:pt x="369338" y="323994"/>
                </a:cubicBezTo>
                <a:cubicBezTo>
                  <a:pt x="371337" y="322657"/>
                  <a:pt x="373481" y="319092"/>
                  <a:pt x="374502" y="318295"/>
                </a:cubicBezTo>
                <a:cubicBezTo>
                  <a:pt x="375591" y="317447"/>
                  <a:pt x="377727" y="317233"/>
                  <a:pt x="377924" y="316444"/>
                </a:cubicBezTo>
                <a:cubicBezTo>
                  <a:pt x="378199" y="315442"/>
                  <a:pt x="376414" y="313616"/>
                  <a:pt x="376586" y="312391"/>
                </a:cubicBezTo>
                <a:cubicBezTo>
                  <a:pt x="376758" y="311166"/>
                  <a:pt x="377186" y="310223"/>
                  <a:pt x="378139" y="310292"/>
                </a:cubicBezTo>
                <a:cubicBezTo>
                  <a:pt x="379091" y="310369"/>
                  <a:pt x="380223" y="313111"/>
                  <a:pt x="379614" y="313771"/>
                </a:cubicBezTo>
                <a:cubicBezTo>
                  <a:pt x="378919" y="314516"/>
                  <a:pt x="380111" y="315776"/>
                  <a:pt x="381407" y="315245"/>
                </a:cubicBezTo>
                <a:cubicBezTo>
                  <a:pt x="382710" y="314713"/>
                  <a:pt x="387333" y="312905"/>
                  <a:pt x="388680" y="312554"/>
                </a:cubicBezTo>
                <a:cubicBezTo>
                  <a:pt x="390507" y="312066"/>
                  <a:pt x="388226" y="307935"/>
                  <a:pt x="388818" y="307198"/>
                </a:cubicBezTo>
                <a:cubicBezTo>
                  <a:pt x="389375" y="306504"/>
                  <a:pt x="389915" y="307421"/>
                  <a:pt x="390619" y="306718"/>
                </a:cubicBezTo>
                <a:cubicBezTo>
                  <a:pt x="391322" y="306016"/>
                  <a:pt x="389177" y="305322"/>
                  <a:pt x="389521" y="303822"/>
                </a:cubicBezTo>
                <a:cubicBezTo>
                  <a:pt x="389769" y="302691"/>
                  <a:pt x="394607" y="301380"/>
                  <a:pt x="393278" y="300523"/>
                </a:cubicBezTo>
                <a:cubicBezTo>
                  <a:pt x="391948" y="299658"/>
                  <a:pt x="390156" y="302160"/>
                  <a:pt x="389092" y="302631"/>
                </a:cubicBezTo>
                <a:cubicBezTo>
                  <a:pt x="386681" y="303694"/>
                  <a:pt x="385507" y="301063"/>
                  <a:pt x="385583" y="299066"/>
                </a:cubicBezTo>
                <a:cubicBezTo>
                  <a:pt x="385626" y="298098"/>
                  <a:pt x="386939" y="294670"/>
                  <a:pt x="385789" y="294002"/>
                </a:cubicBezTo>
                <a:cubicBezTo>
                  <a:pt x="384194" y="293085"/>
                  <a:pt x="383928" y="297164"/>
                  <a:pt x="383680" y="297961"/>
                </a:cubicBezTo>
                <a:cubicBezTo>
                  <a:pt x="383294" y="299169"/>
                  <a:pt x="382265" y="300694"/>
                  <a:pt x="384031" y="303985"/>
                </a:cubicBezTo>
                <a:cubicBezTo>
                  <a:pt x="384983" y="305759"/>
                  <a:pt x="384495" y="311765"/>
                  <a:pt x="382642" y="312425"/>
                </a:cubicBezTo>
                <a:cubicBezTo>
                  <a:pt x="380669" y="313136"/>
                  <a:pt x="379803" y="309375"/>
                  <a:pt x="378877" y="307824"/>
                </a:cubicBezTo>
                <a:cubicBezTo>
                  <a:pt x="378722" y="307558"/>
                  <a:pt x="378559" y="307361"/>
                  <a:pt x="378388" y="307267"/>
                </a:cubicBezTo>
                <a:lnTo>
                  <a:pt x="378336" y="307241"/>
                </a:lnTo>
                <a:cubicBezTo>
                  <a:pt x="378259" y="307207"/>
                  <a:pt x="378182" y="307190"/>
                  <a:pt x="378096" y="307198"/>
                </a:cubicBezTo>
                <a:lnTo>
                  <a:pt x="378087" y="307198"/>
                </a:lnTo>
                <a:cubicBezTo>
                  <a:pt x="378001" y="307207"/>
                  <a:pt x="377915" y="307259"/>
                  <a:pt x="377830" y="307327"/>
                </a:cubicBezTo>
                <a:lnTo>
                  <a:pt x="377761" y="307387"/>
                </a:lnTo>
                <a:cubicBezTo>
                  <a:pt x="377667" y="307472"/>
                  <a:pt x="377581" y="307575"/>
                  <a:pt x="377478" y="307729"/>
                </a:cubicBezTo>
                <a:cubicBezTo>
                  <a:pt x="377324" y="307970"/>
                  <a:pt x="377075" y="308389"/>
                  <a:pt x="376870" y="308749"/>
                </a:cubicBezTo>
                <a:cubicBezTo>
                  <a:pt x="376724" y="309006"/>
                  <a:pt x="376432" y="309615"/>
                  <a:pt x="376063" y="310669"/>
                </a:cubicBezTo>
                <a:cubicBezTo>
                  <a:pt x="375831" y="311337"/>
                  <a:pt x="375411" y="311740"/>
                  <a:pt x="374665" y="311903"/>
                </a:cubicBezTo>
                <a:cubicBezTo>
                  <a:pt x="372649" y="312126"/>
                  <a:pt x="370616" y="312262"/>
                  <a:pt x="368541" y="312262"/>
                </a:cubicBezTo>
                <a:cubicBezTo>
                  <a:pt x="367743" y="312262"/>
                  <a:pt x="366945" y="312245"/>
                  <a:pt x="366156" y="312211"/>
                </a:cubicBezTo>
                <a:cubicBezTo>
                  <a:pt x="366491" y="313445"/>
                  <a:pt x="366843" y="314782"/>
                  <a:pt x="367297" y="315648"/>
                </a:cubicBezTo>
                <a:cubicBezTo>
                  <a:pt x="368387" y="317704"/>
                  <a:pt x="370470" y="319366"/>
                  <a:pt x="370119" y="320883"/>
                </a:cubicBezTo>
                <a:cubicBezTo>
                  <a:pt x="369767" y="322408"/>
                  <a:pt x="363403" y="323788"/>
                  <a:pt x="362879" y="322674"/>
                </a:cubicBezTo>
                <a:cubicBezTo>
                  <a:pt x="362228" y="321286"/>
                  <a:pt x="364483" y="318501"/>
                  <a:pt x="364303" y="317241"/>
                </a:cubicBezTo>
                <a:cubicBezTo>
                  <a:pt x="363978" y="314945"/>
                  <a:pt x="362819" y="313574"/>
                  <a:pt x="362965" y="311980"/>
                </a:cubicBezTo>
                <a:cubicBezTo>
                  <a:pt x="351738" y="310857"/>
                  <a:pt x="341479" y="306410"/>
                  <a:pt x="333211" y="299615"/>
                </a:cubicBezTo>
                <a:lnTo>
                  <a:pt x="305369" y="327430"/>
                </a:lnTo>
                <a:cubicBezTo>
                  <a:pt x="319101" y="339649"/>
                  <a:pt x="336376" y="347970"/>
                  <a:pt x="355452" y="350609"/>
                </a:cubicBezTo>
                <a:cubicBezTo>
                  <a:pt x="358145" y="348964"/>
                  <a:pt x="359251" y="346024"/>
                  <a:pt x="361379" y="347618"/>
                </a:cubicBezTo>
                <a:cubicBezTo>
                  <a:pt x="364767" y="350172"/>
                  <a:pt x="368850" y="346762"/>
                  <a:pt x="371552" y="346307"/>
                </a:cubicBezTo>
                <a:close/>
                <a:moveTo>
                  <a:pt x="374030" y="412589"/>
                </a:moveTo>
                <a:lnTo>
                  <a:pt x="374030" y="451869"/>
                </a:lnTo>
                <a:cubicBezTo>
                  <a:pt x="389949" y="451423"/>
                  <a:pt x="405406" y="449067"/>
                  <a:pt x="420176" y="445022"/>
                </a:cubicBezTo>
                <a:cubicBezTo>
                  <a:pt x="417105" y="442417"/>
                  <a:pt x="415707" y="438193"/>
                  <a:pt x="411908" y="436890"/>
                </a:cubicBezTo>
                <a:cubicBezTo>
                  <a:pt x="405371" y="434645"/>
                  <a:pt x="403613" y="430626"/>
                  <a:pt x="407147" y="424799"/>
                </a:cubicBezTo>
                <a:cubicBezTo>
                  <a:pt x="409060" y="421654"/>
                  <a:pt x="408305" y="420412"/>
                  <a:pt x="406066" y="417061"/>
                </a:cubicBezTo>
                <a:cubicBezTo>
                  <a:pt x="403339" y="412983"/>
                  <a:pt x="399813" y="411115"/>
                  <a:pt x="397257" y="410009"/>
                </a:cubicBezTo>
                <a:cubicBezTo>
                  <a:pt x="389683" y="411423"/>
                  <a:pt x="381939" y="412314"/>
                  <a:pt x="374030" y="412589"/>
                </a:cubicBezTo>
                <a:close/>
                <a:moveTo>
                  <a:pt x="392901" y="399667"/>
                </a:moveTo>
                <a:cubicBezTo>
                  <a:pt x="391614" y="398278"/>
                  <a:pt x="389006" y="398176"/>
                  <a:pt x="387162" y="398672"/>
                </a:cubicBezTo>
                <a:cubicBezTo>
                  <a:pt x="380772" y="400404"/>
                  <a:pt x="382908" y="395330"/>
                  <a:pt x="374030" y="396624"/>
                </a:cubicBezTo>
                <a:lnTo>
                  <a:pt x="374030" y="401620"/>
                </a:lnTo>
                <a:cubicBezTo>
                  <a:pt x="380437" y="401380"/>
                  <a:pt x="386733" y="400703"/>
                  <a:pt x="392901" y="399667"/>
                </a:cubicBezTo>
                <a:close/>
                <a:moveTo>
                  <a:pt x="538481" y="434105"/>
                </a:moveTo>
                <a:lnTo>
                  <a:pt x="510579" y="406230"/>
                </a:lnTo>
                <a:cubicBezTo>
                  <a:pt x="496197" y="419863"/>
                  <a:pt x="479848" y="431449"/>
                  <a:pt x="462016" y="440532"/>
                </a:cubicBezTo>
                <a:cubicBezTo>
                  <a:pt x="456140" y="444962"/>
                  <a:pt x="448961" y="448184"/>
                  <a:pt x="443532" y="450643"/>
                </a:cubicBezTo>
                <a:cubicBezTo>
                  <a:pt x="441259" y="451672"/>
                  <a:pt x="438797" y="453017"/>
                  <a:pt x="436215" y="453017"/>
                </a:cubicBezTo>
                <a:cubicBezTo>
                  <a:pt x="435383" y="453017"/>
                  <a:pt x="434663" y="452743"/>
                  <a:pt x="433943" y="452298"/>
                </a:cubicBezTo>
                <a:cubicBezTo>
                  <a:pt x="415029" y="458621"/>
                  <a:pt x="394915" y="462289"/>
                  <a:pt x="374030" y="462837"/>
                </a:cubicBezTo>
                <a:lnTo>
                  <a:pt x="374030" y="502101"/>
                </a:lnTo>
                <a:cubicBezTo>
                  <a:pt x="435864" y="500754"/>
                  <a:pt x="493874" y="476770"/>
                  <a:pt x="538481" y="434105"/>
                </a:cubicBezTo>
                <a:close/>
                <a:moveTo>
                  <a:pt x="483477" y="150112"/>
                </a:moveTo>
                <a:cubicBezTo>
                  <a:pt x="483425" y="150343"/>
                  <a:pt x="483305" y="150471"/>
                  <a:pt x="483159" y="150566"/>
                </a:cubicBezTo>
                <a:cubicBezTo>
                  <a:pt x="489636" y="157550"/>
                  <a:pt x="495460" y="165133"/>
                  <a:pt x="500590" y="173205"/>
                </a:cubicBezTo>
                <a:cubicBezTo>
                  <a:pt x="501186" y="172443"/>
                  <a:pt x="501662" y="171765"/>
                  <a:pt x="502491" y="172717"/>
                </a:cubicBezTo>
                <a:cubicBezTo>
                  <a:pt x="503882" y="174301"/>
                  <a:pt x="501041" y="177181"/>
                  <a:pt x="505158" y="176427"/>
                </a:cubicBezTo>
                <a:cubicBezTo>
                  <a:pt x="507640" y="175973"/>
                  <a:pt x="507131" y="179143"/>
                  <a:pt x="505124" y="180840"/>
                </a:cubicBezTo>
                <a:cubicBezTo>
                  <a:pt x="506394" y="183128"/>
                  <a:pt x="507621" y="185442"/>
                  <a:pt x="508780" y="187789"/>
                </a:cubicBezTo>
                <a:cubicBezTo>
                  <a:pt x="510230" y="188441"/>
                  <a:pt x="511326" y="189229"/>
                  <a:pt x="511549" y="190172"/>
                </a:cubicBezTo>
                <a:cubicBezTo>
                  <a:pt x="512203" y="192931"/>
                  <a:pt x="513469" y="195990"/>
                  <a:pt x="513779" y="199041"/>
                </a:cubicBezTo>
                <a:cubicBezTo>
                  <a:pt x="515743" y="203984"/>
                  <a:pt x="517474" y="209049"/>
                  <a:pt x="518944" y="214225"/>
                </a:cubicBezTo>
                <a:cubicBezTo>
                  <a:pt x="520966" y="212494"/>
                  <a:pt x="523250" y="213436"/>
                  <a:pt x="523487" y="216324"/>
                </a:cubicBezTo>
                <a:cubicBezTo>
                  <a:pt x="523730" y="219212"/>
                  <a:pt x="522813" y="222339"/>
                  <a:pt x="521552" y="224928"/>
                </a:cubicBezTo>
                <a:cubicBezTo>
                  <a:pt x="523308" y="233419"/>
                  <a:pt x="524409" y="242151"/>
                  <a:pt x="524714" y="251080"/>
                </a:cubicBezTo>
                <a:lnTo>
                  <a:pt x="564026" y="251080"/>
                </a:lnTo>
                <a:cubicBezTo>
                  <a:pt x="563313" y="225656"/>
                  <a:pt x="557610" y="200506"/>
                  <a:pt x="547393" y="177396"/>
                </a:cubicBezTo>
                <a:cubicBezTo>
                  <a:pt x="546613" y="178021"/>
                  <a:pt x="545565" y="178072"/>
                  <a:pt x="544246" y="179744"/>
                </a:cubicBezTo>
                <a:cubicBezTo>
                  <a:pt x="542258" y="182254"/>
                  <a:pt x="539038" y="179118"/>
                  <a:pt x="537273" y="176924"/>
                </a:cubicBezTo>
                <a:cubicBezTo>
                  <a:pt x="533981" y="172862"/>
                  <a:pt x="526227" y="161440"/>
                  <a:pt x="522736" y="160866"/>
                </a:cubicBezTo>
                <a:cubicBezTo>
                  <a:pt x="519816" y="160386"/>
                  <a:pt x="517639" y="156599"/>
                  <a:pt x="514570" y="155973"/>
                </a:cubicBezTo>
                <a:cubicBezTo>
                  <a:pt x="511505" y="155347"/>
                  <a:pt x="507679" y="153625"/>
                  <a:pt x="507185" y="150386"/>
                </a:cubicBezTo>
                <a:cubicBezTo>
                  <a:pt x="506661" y="147070"/>
                  <a:pt x="505454" y="145707"/>
                  <a:pt x="502045" y="145176"/>
                </a:cubicBezTo>
                <a:cubicBezTo>
                  <a:pt x="498194" y="144585"/>
                  <a:pt x="495508" y="143059"/>
                  <a:pt x="492797" y="140180"/>
                </a:cubicBezTo>
                <a:lnTo>
                  <a:pt x="483391" y="149581"/>
                </a:lnTo>
                <a:cubicBezTo>
                  <a:pt x="483468" y="149786"/>
                  <a:pt x="483511" y="149966"/>
                  <a:pt x="483477" y="150112"/>
                </a:cubicBezTo>
                <a:close/>
                <a:moveTo>
                  <a:pt x="508426" y="388570"/>
                </a:moveTo>
                <a:lnTo>
                  <a:pt x="510579" y="390720"/>
                </a:lnTo>
                <a:cubicBezTo>
                  <a:pt x="542573" y="356941"/>
                  <a:pt x="562653" y="311791"/>
                  <a:pt x="564026" y="262048"/>
                </a:cubicBezTo>
                <a:lnTo>
                  <a:pt x="524714" y="262048"/>
                </a:lnTo>
                <a:cubicBezTo>
                  <a:pt x="523361" y="300969"/>
                  <a:pt x="507689" y="336307"/>
                  <a:pt x="482799" y="362966"/>
                </a:cubicBezTo>
                <a:lnTo>
                  <a:pt x="496987" y="377138"/>
                </a:lnTo>
                <a:cubicBezTo>
                  <a:pt x="497089" y="376941"/>
                  <a:pt x="497181" y="376745"/>
                  <a:pt x="497278" y="376547"/>
                </a:cubicBezTo>
                <a:cubicBezTo>
                  <a:pt x="498451" y="374062"/>
                  <a:pt x="497947" y="370814"/>
                  <a:pt x="498141" y="368535"/>
                </a:cubicBezTo>
                <a:cubicBezTo>
                  <a:pt x="498262" y="367045"/>
                  <a:pt x="503674" y="367404"/>
                  <a:pt x="504062" y="369863"/>
                </a:cubicBezTo>
                <a:cubicBezTo>
                  <a:pt x="504387" y="371937"/>
                  <a:pt x="505458" y="373462"/>
                  <a:pt x="507340" y="378613"/>
                </a:cubicBezTo>
                <a:cubicBezTo>
                  <a:pt x="508693" y="382323"/>
                  <a:pt x="509338" y="385733"/>
                  <a:pt x="508426" y="388570"/>
                </a:cubicBezTo>
                <a:close/>
                <a:moveTo>
                  <a:pt x="478578" y="413077"/>
                </a:moveTo>
                <a:cubicBezTo>
                  <a:pt x="477541" y="415571"/>
                  <a:pt x="472283" y="420061"/>
                  <a:pt x="473193" y="421535"/>
                </a:cubicBezTo>
                <a:cubicBezTo>
                  <a:pt x="483802" y="414791"/>
                  <a:pt x="493724" y="407070"/>
                  <a:pt x="502825" y="398475"/>
                </a:cubicBezTo>
                <a:lnTo>
                  <a:pt x="475036" y="370720"/>
                </a:lnTo>
                <a:cubicBezTo>
                  <a:pt x="473098" y="372528"/>
                  <a:pt x="471099" y="374268"/>
                  <a:pt x="469067" y="375982"/>
                </a:cubicBezTo>
                <a:cubicBezTo>
                  <a:pt x="468586" y="379161"/>
                  <a:pt x="469023" y="381654"/>
                  <a:pt x="472935" y="382863"/>
                </a:cubicBezTo>
                <a:cubicBezTo>
                  <a:pt x="477155" y="384165"/>
                  <a:pt x="484197" y="388450"/>
                  <a:pt x="482713" y="392606"/>
                </a:cubicBezTo>
                <a:cubicBezTo>
                  <a:pt x="481049" y="396325"/>
                  <a:pt x="476932" y="401894"/>
                  <a:pt x="474942" y="405587"/>
                </a:cubicBezTo>
                <a:cubicBezTo>
                  <a:pt x="473252" y="408741"/>
                  <a:pt x="479831" y="410086"/>
                  <a:pt x="478578" y="413077"/>
                </a:cubicBezTo>
                <a:close/>
                <a:moveTo>
                  <a:pt x="485063" y="250583"/>
                </a:moveTo>
                <a:cubicBezTo>
                  <a:pt x="485005" y="250746"/>
                  <a:pt x="484901" y="250917"/>
                  <a:pt x="484780" y="251080"/>
                </a:cubicBezTo>
                <a:lnTo>
                  <a:pt x="513726" y="251080"/>
                </a:lnTo>
                <a:cubicBezTo>
                  <a:pt x="513576" y="246907"/>
                  <a:pt x="513222" y="242776"/>
                  <a:pt x="512727" y="238689"/>
                </a:cubicBezTo>
                <a:cubicBezTo>
                  <a:pt x="512494" y="239118"/>
                  <a:pt x="512242" y="239546"/>
                  <a:pt x="512048" y="239966"/>
                </a:cubicBezTo>
                <a:cubicBezTo>
                  <a:pt x="509886" y="244456"/>
                  <a:pt x="509561" y="241748"/>
                  <a:pt x="509716" y="239795"/>
                </a:cubicBezTo>
                <a:cubicBezTo>
                  <a:pt x="509920" y="237301"/>
                  <a:pt x="510870" y="234970"/>
                  <a:pt x="511801" y="232417"/>
                </a:cubicBezTo>
                <a:cubicBezTo>
                  <a:pt x="511578" y="231080"/>
                  <a:pt x="511335" y="229760"/>
                  <a:pt x="511069" y="228441"/>
                </a:cubicBezTo>
                <a:cubicBezTo>
                  <a:pt x="510201" y="229675"/>
                  <a:pt x="508950" y="230549"/>
                  <a:pt x="506986" y="231526"/>
                </a:cubicBezTo>
                <a:cubicBezTo>
                  <a:pt x="505711" y="232177"/>
                  <a:pt x="504498" y="235185"/>
                  <a:pt x="504028" y="236333"/>
                </a:cubicBezTo>
                <a:cubicBezTo>
                  <a:pt x="503470" y="237721"/>
                  <a:pt x="500289" y="236007"/>
                  <a:pt x="497671" y="237267"/>
                </a:cubicBezTo>
                <a:cubicBezTo>
                  <a:pt x="493084" y="239478"/>
                  <a:pt x="488380" y="239812"/>
                  <a:pt x="491735" y="244559"/>
                </a:cubicBezTo>
                <a:cubicBezTo>
                  <a:pt x="493879" y="247583"/>
                  <a:pt x="486600" y="246736"/>
                  <a:pt x="485063" y="250583"/>
                </a:cubicBezTo>
                <a:close/>
                <a:moveTo>
                  <a:pt x="475036" y="157926"/>
                </a:moveTo>
                <a:lnTo>
                  <a:pt x="447246" y="185690"/>
                </a:lnTo>
                <a:cubicBezTo>
                  <a:pt x="452023" y="190986"/>
                  <a:pt x="456269" y="196770"/>
                  <a:pt x="459914" y="202948"/>
                </a:cubicBezTo>
                <a:cubicBezTo>
                  <a:pt x="463183" y="203454"/>
                  <a:pt x="467643" y="204765"/>
                  <a:pt x="470516" y="208458"/>
                </a:cubicBezTo>
                <a:cubicBezTo>
                  <a:pt x="472549" y="211080"/>
                  <a:pt x="478416" y="216324"/>
                  <a:pt x="477515" y="218672"/>
                </a:cubicBezTo>
                <a:cubicBezTo>
                  <a:pt x="476966" y="220111"/>
                  <a:pt x="478192" y="221894"/>
                  <a:pt x="479531" y="222836"/>
                </a:cubicBezTo>
                <a:cubicBezTo>
                  <a:pt x="481581" y="224268"/>
                  <a:pt x="483030" y="224234"/>
                  <a:pt x="484154" y="222803"/>
                </a:cubicBezTo>
                <a:cubicBezTo>
                  <a:pt x="486203" y="220189"/>
                  <a:pt x="486494" y="216658"/>
                  <a:pt x="489214" y="214430"/>
                </a:cubicBezTo>
                <a:cubicBezTo>
                  <a:pt x="492540" y="211689"/>
                  <a:pt x="499363" y="219606"/>
                  <a:pt x="499353" y="221054"/>
                </a:cubicBezTo>
                <a:cubicBezTo>
                  <a:pt x="499344" y="222502"/>
                  <a:pt x="497583" y="222845"/>
                  <a:pt x="497079" y="225416"/>
                </a:cubicBezTo>
                <a:cubicBezTo>
                  <a:pt x="496395" y="228929"/>
                  <a:pt x="493374" y="233120"/>
                  <a:pt x="496808" y="234293"/>
                </a:cubicBezTo>
                <a:cubicBezTo>
                  <a:pt x="501807" y="235999"/>
                  <a:pt x="502442" y="234037"/>
                  <a:pt x="504843" y="230523"/>
                </a:cubicBezTo>
                <a:cubicBezTo>
                  <a:pt x="505948" y="228904"/>
                  <a:pt x="505711" y="226290"/>
                  <a:pt x="506899" y="224687"/>
                </a:cubicBezTo>
                <a:cubicBezTo>
                  <a:pt x="507655" y="223676"/>
                  <a:pt x="508780" y="223248"/>
                  <a:pt x="509784" y="222579"/>
                </a:cubicBezTo>
                <a:cubicBezTo>
                  <a:pt x="507907" y="214790"/>
                  <a:pt x="505415" y="207233"/>
                  <a:pt x="502336" y="199992"/>
                </a:cubicBezTo>
                <a:cubicBezTo>
                  <a:pt x="501599" y="199272"/>
                  <a:pt x="500740" y="198681"/>
                  <a:pt x="499669" y="198329"/>
                </a:cubicBezTo>
                <a:cubicBezTo>
                  <a:pt x="497879" y="197738"/>
                  <a:pt x="498888" y="196136"/>
                  <a:pt x="496541" y="195399"/>
                </a:cubicBezTo>
                <a:cubicBezTo>
                  <a:pt x="493845" y="194551"/>
                  <a:pt x="492802" y="193779"/>
                  <a:pt x="492550" y="189057"/>
                </a:cubicBezTo>
                <a:cubicBezTo>
                  <a:pt x="492351" y="185253"/>
                  <a:pt x="495770" y="190309"/>
                  <a:pt x="496619" y="189649"/>
                </a:cubicBezTo>
                <a:cubicBezTo>
                  <a:pt x="496798" y="189503"/>
                  <a:pt x="496958" y="189280"/>
                  <a:pt x="497123" y="189024"/>
                </a:cubicBezTo>
                <a:cubicBezTo>
                  <a:pt x="491129" y="177687"/>
                  <a:pt x="483691" y="167241"/>
                  <a:pt x="475036" y="157926"/>
                </a:cubicBezTo>
                <a:close/>
                <a:moveTo>
                  <a:pt x="441319" y="195622"/>
                </a:moveTo>
                <a:cubicBezTo>
                  <a:pt x="439998" y="195604"/>
                  <a:pt x="438909" y="195347"/>
                  <a:pt x="437949" y="194979"/>
                </a:cubicBezTo>
                <a:lnTo>
                  <a:pt x="428762" y="204148"/>
                </a:lnTo>
                <a:cubicBezTo>
                  <a:pt x="430520" y="204619"/>
                  <a:pt x="432467" y="203968"/>
                  <a:pt x="434663" y="204945"/>
                </a:cubicBezTo>
                <a:cubicBezTo>
                  <a:pt x="437108" y="206016"/>
                  <a:pt x="435915" y="198124"/>
                  <a:pt x="439654" y="198844"/>
                </a:cubicBezTo>
                <a:cubicBezTo>
                  <a:pt x="443472" y="199572"/>
                  <a:pt x="444449" y="202023"/>
                  <a:pt x="441293" y="203214"/>
                </a:cubicBezTo>
                <a:cubicBezTo>
                  <a:pt x="438763" y="204036"/>
                  <a:pt x="441919" y="206144"/>
                  <a:pt x="438857" y="207181"/>
                </a:cubicBezTo>
                <a:cubicBezTo>
                  <a:pt x="436069" y="208132"/>
                  <a:pt x="441122" y="210592"/>
                  <a:pt x="441079" y="211689"/>
                </a:cubicBezTo>
                <a:cubicBezTo>
                  <a:pt x="441027" y="213205"/>
                  <a:pt x="437271" y="213771"/>
                  <a:pt x="442914" y="215510"/>
                </a:cubicBezTo>
                <a:cubicBezTo>
                  <a:pt x="448550" y="217250"/>
                  <a:pt x="442931" y="210771"/>
                  <a:pt x="443789" y="209863"/>
                </a:cubicBezTo>
                <a:cubicBezTo>
                  <a:pt x="444836" y="208758"/>
                  <a:pt x="447846" y="211611"/>
                  <a:pt x="448678" y="210352"/>
                </a:cubicBezTo>
                <a:cubicBezTo>
                  <a:pt x="448987" y="209889"/>
                  <a:pt x="449545" y="209084"/>
                  <a:pt x="450231" y="208158"/>
                </a:cubicBezTo>
                <a:cubicBezTo>
                  <a:pt x="447597" y="203736"/>
                  <a:pt x="444613" y="199538"/>
                  <a:pt x="441319" y="195622"/>
                </a:cubicBezTo>
                <a:close/>
                <a:moveTo>
                  <a:pt x="426995" y="341397"/>
                </a:moveTo>
                <a:cubicBezTo>
                  <a:pt x="427063" y="343325"/>
                  <a:pt x="425116" y="341783"/>
                  <a:pt x="424524" y="342442"/>
                </a:cubicBezTo>
                <a:cubicBezTo>
                  <a:pt x="423933" y="343085"/>
                  <a:pt x="439981" y="350592"/>
                  <a:pt x="442503" y="351020"/>
                </a:cubicBezTo>
                <a:cubicBezTo>
                  <a:pt x="444227" y="351311"/>
                  <a:pt x="447512" y="352537"/>
                  <a:pt x="453319" y="351380"/>
                </a:cubicBezTo>
                <a:cubicBezTo>
                  <a:pt x="457212" y="350609"/>
                  <a:pt x="458293" y="352400"/>
                  <a:pt x="460112" y="352331"/>
                </a:cubicBezTo>
                <a:cubicBezTo>
                  <a:pt x="462702" y="352237"/>
                  <a:pt x="464383" y="348741"/>
                  <a:pt x="465884" y="346590"/>
                </a:cubicBezTo>
                <a:cubicBezTo>
                  <a:pt x="469864" y="340917"/>
                  <a:pt x="469109" y="340155"/>
                  <a:pt x="470164" y="339272"/>
                </a:cubicBezTo>
                <a:cubicBezTo>
                  <a:pt x="471511" y="338141"/>
                  <a:pt x="475422" y="346822"/>
                  <a:pt x="474925" y="352323"/>
                </a:cubicBezTo>
                <a:cubicBezTo>
                  <a:pt x="474839" y="353197"/>
                  <a:pt x="474736" y="354011"/>
                  <a:pt x="474616" y="354791"/>
                </a:cubicBezTo>
                <a:lnTo>
                  <a:pt x="475036" y="355211"/>
                </a:lnTo>
                <a:cubicBezTo>
                  <a:pt x="497947" y="330549"/>
                  <a:pt x="512388" y="297944"/>
                  <a:pt x="513726" y="262048"/>
                </a:cubicBezTo>
                <a:lnTo>
                  <a:pt x="483845" y="262048"/>
                </a:lnTo>
                <a:cubicBezTo>
                  <a:pt x="484875" y="263745"/>
                  <a:pt x="486658" y="265938"/>
                  <a:pt x="488535" y="269811"/>
                </a:cubicBezTo>
                <a:cubicBezTo>
                  <a:pt x="490048" y="272914"/>
                  <a:pt x="490940" y="277841"/>
                  <a:pt x="493476" y="278081"/>
                </a:cubicBezTo>
                <a:cubicBezTo>
                  <a:pt x="497569" y="278466"/>
                  <a:pt x="501778" y="281851"/>
                  <a:pt x="501899" y="284696"/>
                </a:cubicBezTo>
                <a:cubicBezTo>
                  <a:pt x="502142" y="290643"/>
                  <a:pt x="483674" y="292083"/>
                  <a:pt x="481246" y="291320"/>
                </a:cubicBezTo>
                <a:cubicBezTo>
                  <a:pt x="479205" y="290678"/>
                  <a:pt x="477850" y="290541"/>
                  <a:pt x="477713" y="293736"/>
                </a:cubicBezTo>
                <a:cubicBezTo>
                  <a:pt x="477558" y="297361"/>
                  <a:pt x="471039" y="297387"/>
                  <a:pt x="468474" y="299555"/>
                </a:cubicBezTo>
                <a:cubicBezTo>
                  <a:pt x="465593" y="301988"/>
                  <a:pt x="465276" y="306436"/>
                  <a:pt x="463346" y="309537"/>
                </a:cubicBezTo>
                <a:cubicBezTo>
                  <a:pt x="462188" y="311397"/>
                  <a:pt x="455369" y="317832"/>
                  <a:pt x="453507" y="319135"/>
                </a:cubicBezTo>
                <a:cubicBezTo>
                  <a:pt x="449064" y="322237"/>
                  <a:pt x="440701" y="322391"/>
                  <a:pt x="444527" y="324439"/>
                </a:cubicBezTo>
                <a:cubicBezTo>
                  <a:pt x="447254" y="325896"/>
                  <a:pt x="453448" y="326410"/>
                  <a:pt x="452666" y="324971"/>
                </a:cubicBezTo>
                <a:cubicBezTo>
                  <a:pt x="451775" y="323317"/>
                  <a:pt x="453138" y="323163"/>
                  <a:pt x="454185" y="324516"/>
                </a:cubicBezTo>
                <a:cubicBezTo>
                  <a:pt x="454991" y="325536"/>
                  <a:pt x="457899" y="323531"/>
                  <a:pt x="457839" y="321663"/>
                </a:cubicBezTo>
                <a:cubicBezTo>
                  <a:pt x="457779" y="319898"/>
                  <a:pt x="457393" y="317019"/>
                  <a:pt x="459031" y="316907"/>
                </a:cubicBezTo>
                <a:cubicBezTo>
                  <a:pt x="461690" y="316736"/>
                  <a:pt x="464486" y="313788"/>
                  <a:pt x="465807" y="314062"/>
                </a:cubicBezTo>
                <a:cubicBezTo>
                  <a:pt x="467308" y="314371"/>
                  <a:pt x="469341" y="317704"/>
                  <a:pt x="467814" y="327858"/>
                </a:cubicBezTo>
                <a:cubicBezTo>
                  <a:pt x="466304" y="338021"/>
                  <a:pt x="461450" y="345091"/>
                  <a:pt x="459511" y="348278"/>
                </a:cubicBezTo>
                <a:cubicBezTo>
                  <a:pt x="457419" y="351689"/>
                  <a:pt x="455326" y="349084"/>
                  <a:pt x="452521" y="347644"/>
                </a:cubicBezTo>
                <a:cubicBezTo>
                  <a:pt x="448953" y="345810"/>
                  <a:pt x="443575" y="345888"/>
                  <a:pt x="439818" y="344662"/>
                </a:cubicBezTo>
                <a:cubicBezTo>
                  <a:pt x="437828" y="344020"/>
                  <a:pt x="426935" y="339898"/>
                  <a:pt x="426995" y="341397"/>
                </a:cubicBezTo>
                <a:close/>
                <a:moveTo>
                  <a:pt x="614306" y="262048"/>
                </a:moveTo>
                <a:lnTo>
                  <a:pt x="575014" y="262048"/>
                </a:lnTo>
                <a:cubicBezTo>
                  <a:pt x="573622" y="314808"/>
                  <a:pt x="552315" y="362700"/>
                  <a:pt x="518342" y="398475"/>
                </a:cubicBezTo>
                <a:lnTo>
                  <a:pt x="546244" y="426350"/>
                </a:lnTo>
                <a:cubicBezTo>
                  <a:pt x="588960" y="381774"/>
                  <a:pt x="612967" y="323823"/>
                  <a:pt x="614306" y="262048"/>
                </a:cubicBezTo>
                <a:close/>
                <a:moveTo>
                  <a:pt x="546244" y="86787"/>
                </a:moveTo>
                <a:lnTo>
                  <a:pt x="517135" y="115870"/>
                </a:lnTo>
                <a:cubicBezTo>
                  <a:pt x="519802" y="120515"/>
                  <a:pt x="524811" y="126367"/>
                  <a:pt x="531876" y="133556"/>
                </a:cubicBezTo>
                <a:cubicBezTo>
                  <a:pt x="534776" y="136512"/>
                  <a:pt x="537855" y="139409"/>
                  <a:pt x="540440" y="142022"/>
                </a:cubicBezTo>
                <a:cubicBezTo>
                  <a:pt x="542918" y="144516"/>
                  <a:pt x="558793" y="164250"/>
                  <a:pt x="555724" y="167112"/>
                </a:cubicBezTo>
                <a:cubicBezTo>
                  <a:pt x="555501" y="167327"/>
                  <a:pt x="555258" y="167524"/>
                  <a:pt x="555021" y="167721"/>
                </a:cubicBezTo>
                <a:cubicBezTo>
                  <a:pt x="567371" y="193633"/>
                  <a:pt x="574233" y="222194"/>
                  <a:pt x="575004" y="251080"/>
                </a:cubicBezTo>
                <a:lnTo>
                  <a:pt x="614306" y="251080"/>
                </a:lnTo>
                <a:cubicBezTo>
                  <a:pt x="612967" y="189306"/>
                  <a:pt x="588960" y="131354"/>
                  <a:pt x="546244" y="86787"/>
                </a:cubicBezTo>
                <a:close/>
                <a:moveTo>
                  <a:pt x="374030" y="50292"/>
                </a:moveTo>
                <a:cubicBezTo>
                  <a:pt x="406872" y="51140"/>
                  <a:pt x="438402" y="59606"/>
                  <a:pt x="466605" y="74824"/>
                </a:cubicBezTo>
                <a:cubicBezTo>
                  <a:pt x="469238" y="74413"/>
                  <a:pt x="471837" y="74087"/>
                  <a:pt x="473578" y="73274"/>
                </a:cubicBezTo>
                <a:cubicBezTo>
                  <a:pt x="477078" y="71646"/>
                  <a:pt x="483956" y="75347"/>
                  <a:pt x="487274" y="77275"/>
                </a:cubicBezTo>
                <a:cubicBezTo>
                  <a:pt x="490305" y="79023"/>
                  <a:pt x="492652" y="81611"/>
                  <a:pt x="495983" y="83479"/>
                </a:cubicBezTo>
                <a:cubicBezTo>
                  <a:pt x="499387" y="85390"/>
                  <a:pt x="504857" y="90874"/>
                  <a:pt x="506060" y="96401"/>
                </a:cubicBezTo>
                <a:cubicBezTo>
                  <a:pt x="507272" y="101928"/>
                  <a:pt x="510778" y="101551"/>
                  <a:pt x="509027" y="103788"/>
                </a:cubicBezTo>
                <a:cubicBezTo>
                  <a:pt x="508154" y="104902"/>
                  <a:pt x="509493" y="105330"/>
                  <a:pt x="511166" y="106324"/>
                </a:cubicBezTo>
                <a:lnTo>
                  <a:pt x="538490" y="79032"/>
                </a:lnTo>
                <a:cubicBezTo>
                  <a:pt x="493874" y="36358"/>
                  <a:pt x="435864" y="12374"/>
                  <a:pt x="374030" y="11037"/>
                </a:cubicBezTo>
                <a:lnTo>
                  <a:pt x="374030" y="50292"/>
                </a:lnTo>
                <a:close/>
                <a:moveTo>
                  <a:pt x="374030" y="100540"/>
                </a:moveTo>
                <a:cubicBezTo>
                  <a:pt x="407387" y="101697"/>
                  <a:pt x="438094" y="113367"/>
                  <a:pt x="462994" y="132306"/>
                </a:cubicBezTo>
                <a:cubicBezTo>
                  <a:pt x="460181" y="128586"/>
                  <a:pt x="457332" y="124739"/>
                  <a:pt x="456011" y="123325"/>
                </a:cubicBezTo>
                <a:cubicBezTo>
                  <a:pt x="453601" y="120763"/>
                  <a:pt x="444578" y="117609"/>
                  <a:pt x="445488" y="116144"/>
                </a:cubicBezTo>
                <a:cubicBezTo>
                  <a:pt x="446388" y="114670"/>
                  <a:pt x="454416" y="121071"/>
                  <a:pt x="455823" y="119948"/>
                </a:cubicBezTo>
                <a:cubicBezTo>
                  <a:pt x="457513" y="118595"/>
                  <a:pt x="451792" y="111243"/>
                  <a:pt x="452221" y="110960"/>
                </a:cubicBezTo>
                <a:cubicBezTo>
                  <a:pt x="452812" y="110574"/>
                  <a:pt x="459589" y="117113"/>
                  <a:pt x="462916" y="122974"/>
                </a:cubicBezTo>
                <a:cubicBezTo>
                  <a:pt x="464306" y="125039"/>
                  <a:pt x="467994" y="123993"/>
                  <a:pt x="470868" y="125990"/>
                </a:cubicBezTo>
                <a:cubicBezTo>
                  <a:pt x="473398" y="127764"/>
                  <a:pt x="473569" y="130600"/>
                  <a:pt x="475697" y="132425"/>
                </a:cubicBezTo>
                <a:cubicBezTo>
                  <a:pt x="476040" y="132725"/>
                  <a:pt x="480543" y="135322"/>
                  <a:pt x="477927" y="135022"/>
                </a:cubicBezTo>
                <a:cubicBezTo>
                  <a:pt x="477172" y="134936"/>
                  <a:pt x="476014" y="133333"/>
                  <a:pt x="475148" y="134148"/>
                </a:cubicBezTo>
                <a:cubicBezTo>
                  <a:pt x="474607" y="134662"/>
                  <a:pt x="475474" y="137421"/>
                  <a:pt x="477026" y="140437"/>
                </a:cubicBezTo>
                <a:lnTo>
                  <a:pt x="490082" y="127387"/>
                </a:lnTo>
                <a:cubicBezTo>
                  <a:pt x="488186" y="123548"/>
                  <a:pt x="484446" y="118484"/>
                  <a:pt x="481838" y="117841"/>
                </a:cubicBezTo>
                <a:cubicBezTo>
                  <a:pt x="479145" y="117181"/>
                  <a:pt x="477489" y="119443"/>
                  <a:pt x="475637" y="120977"/>
                </a:cubicBezTo>
                <a:cubicBezTo>
                  <a:pt x="473784" y="122511"/>
                  <a:pt x="471468" y="123025"/>
                  <a:pt x="471177" y="121997"/>
                </a:cubicBezTo>
                <a:cubicBezTo>
                  <a:pt x="470851" y="120831"/>
                  <a:pt x="471554" y="117978"/>
                  <a:pt x="471417" y="116778"/>
                </a:cubicBezTo>
                <a:cubicBezTo>
                  <a:pt x="471228" y="115279"/>
                  <a:pt x="470053" y="114096"/>
                  <a:pt x="469658" y="112648"/>
                </a:cubicBezTo>
                <a:cubicBezTo>
                  <a:pt x="468723" y="109238"/>
                  <a:pt x="470113" y="105433"/>
                  <a:pt x="468037" y="103170"/>
                </a:cubicBezTo>
                <a:cubicBezTo>
                  <a:pt x="465756" y="100686"/>
                  <a:pt x="464229" y="96924"/>
                  <a:pt x="462445" y="94071"/>
                </a:cubicBezTo>
                <a:cubicBezTo>
                  <a:pt x="460497" y="90960"/>
                  <a:pt x="456989" y="86153"/>
                  <a:pt x="456783" y="82074"/>
                </a:cubicBezTo>
                <a:cubicBezTo>
                  <a:pt x="431352" y="69229"/>
                  <a:pt x="403244" y="62057"/>
                  <a:pt x="374030" y="61260"/>
                </a:cubicBezTo>
                <a:lnTo>
                  <a:pt x="374030" y="100540"/>
                </a:lnTo>
                <a:close/>
                <a:moveTo>
                  <a:pt x="374030" y="150797"/>
                </a:moveTo>
                <a:cubicBezTo>
                  <a:pt x="399127" y="152083"/>
                  <a:pt x="421951" y="162134"/>
                  <a:pt x="439483" y="177935"/>
                </a:cubicBezTo>
                <a:lnTo>
                  <a:pt x="467283" y="150172"/>
                </a:lnTo>
                <a:cubicBezTo>
                  <a:pt x="442588" y="127284"/>
                  <a:pt x="409960" y="112854"/>
                  <a:pt x="374030" y="111517"/>
                </a:cubicBezTo>
                <a:lnTo>
                  <a:pt x="374030" y="150797"/>
                </a:lnTo>
                <a:close/>
                <a:moveTo>
                  <a:pt x="374030" y="201140"/>
                </a:moveTo>
                <a:cubicBezTo>
                  <a:pt x="377770" y="201509"/>
                  <a:pt x="381449" y="202263"/>
                  <a:pt x="385034" y="203368"/>
                </a:cubicBezTo>
                <a:cubicBezTo>
                  <a:pt x="385969" y="201080"/>
                  <a:pt x="388311" y="199940"/>
                  <a:pt x="390232" y="198638"/>
                </a:cubicBezTo>
                <a:cubicBezTo>
                  <a:pt x="392505" y="197095"/>
                  <a:pt x="394152" y="195356"/>
                  <a:pt x="393826" y="199546"/>
                </a:cubicBezTo>
                <a:cubicBezTo>
                  <a:pt x="393526" y="202494"/>
                  <a:pt x="392299" y="204276"/>
                  <a:pt x="390773" y="205476"/>
                </a:cubicBezTo>
                <a:cubicBezTo>
                  <a:pt x="394624" y="207156"/>
                  <a:pt x="398286" y="209246"/>
                  <a:pt x="401692" y="211766"/>
                </a:cubicBezTo>
                <a:cubicBezTo>
                  <a:pt x="402438" y="212322"/>
                  <a:pt x="403167" y="212905"/>
                  <a:pt x="403888" y="213496"/>
                </a:cubicBezTo>
                <a:lnTo>
                  <a:pt x="407662" y="209726"/>
                </a:lnTo>
                <a:cubicBezTo>
                  <a:pt x="407627" y="209597"/>
                  <a:pt x="407593" y="209469"/>
                  <a:pt x="407593" y="209306"/>
                </a:cubicBezTo>
                <a:cubicBezTo>
                  <a:pt x="407662" y="207164"/>
                  <a:pt x="410767" y="204610"/>
                  <a:pt x="414352" y="203042"/>
                </a:cubicBezTo>
                <a:lnTo>
                  <a:pt x="426608" y="190798"/>
                </a:lnTo>
                <a:cubicBezTo>
                  <a:pt x="426334" y="190738"/>
                  <a:pt x="426034" y="190686"/>
                  <a:pt x="425682" y="190643"/>
                </a:cubicBezTo>
                <a:cubicBezTo>
                  <a:pt x="424036" y="190438"/>
                  <a:pt x="421694" y="193848"/>
                  <a:pt x="420090" y="192905"/>
                </a:cubicBezTo>
                <a:cubicBezTo>
                  <a:pt x="418280" y="191851"/>
                  <a:pt x="425502" y="185493"/>
                  <a:pt x="428728" y="186719"/>
                </a:cubicBezTo>
                <a:cubicBezTo>
                  <a:pt x="429165" y="186881"/>
                  <a:pt x="429645" y="187070"/>
                  <a:pt x="430142" y="187267"/>
                </a:cubicBezTo>
                <a:lnTo>
                  <a:pt x="431703" y="185707"/>
                </a:lnTo>
                <a:cubicBezTo>
                  <a:pt x="416179" y="171877"/>
                  <a:pt x="396108" y="163051"/>
                  <a:pt x="374030" y="161783"/>
                </a:cubicBezTo>
                <a:lnTo>
                  <a:pt x="374030" y="201140"/>
                </a:lnTo>
                <a:close/>
                <a:moveTo>
                  <a:pt x="368541" y="211834"/>
                </a:moveTo>
                <a:cubicBezTo>
                  <a:pt x="363934" y="211834"/>
                  <a:pt x="359466" y="212520"/>
                  <a:pt x="355177" y="213856"/>
                </a:cubicBezTo>
                <a:cubicBezTo>
                  <a:pt x="354611" y="214474"/>
                  <a:pt x="354182" y="214988"/>
                  <a:pt x="354508" y="215450"/>
                </a:cubicBezTo>
                <a:cubicBezTo>
                  <a:pt x="355589" y="217027"/>
                  <a:pt x="358883" y="213719"/>
                  <a:pt x="359320" y="216762"/>
                </a:cubicBezTo>
                <a:cubicBezTo>
                  <a:pt x="359646" y="218972"/>
                  <a:pt x="355675" y="217344"/>
                  <a:pt x="356035" y="218972"/>
                </a:cubicBezTo>
                <a:cubicBezTo>
                  <a:pt x="356326" y="220274"/>
                  <a:pt x="359080" y="219735"/>
                  <a:pt x="359148" y="221526"/>
                </a:cubicBezTo>
                <a:cubicBezTo>
                  <a:pt x="359208" y="223171"/>
                  <a:pt x="357484" y="226401"/>
                  <a:pt x="356155" y="227250"/>
                </a:cubicBezTo>
                <a:cubicBezTo>
                  <a:pt x="354388" y="228381"/>
                  <a:pt x="344970" y="229623"/>
                  <a:pt x="344069" y="231808"/>
                </a:cubicBezTo>
                <a:cubicBezTo>
                  <a:pt x="343280" y="233719"/>
                  <a:pt x="342457" y="235442"/>
                  <a:pt x="340981" y="237010"/>
                </a:cubicBezTo>
                <a:cubicBezTo>
                  <a:pt x="339378" y="238698"/>
                  <a:pt x="331821" y="243179"/>
                  <a:pt x="331804" y="244345"/>
                </a:cubicBezTo>
                <a:cubicBezTo>
                  <a:pt x="331761" y="247096"/>
                  <a:pt x="335432" y="243591"/>
                  <a:pt x="336452" y="242511"/>
                </a:cubicBezTo>
                <a:cubicBezTo>
                  <a:pt x="338074" y="240797"/>
                  <a:pt x="340304" y="240806"/>
                  <a:pt x="342732" y="239418"/>
                </a:cubicBezTo>
                <a:cubicBezTo>
                  <a:pt x="346076" y="237515"/>
                  <a:pt x="347363" y="244174"/>
                  <a:pt x="343778" y="244413"/>
                </a:cubicBezTo>
                <a:cubicBezTo>
                  <a:pt x="341539" y="244567"/>
                  <a:pt x="339652" y="250849"/>
                  <a:pt x="336144" y="249640"/>
                </a:cubicBezTo>
                <a:cubicBezTo>
                  <a:pt x="335261" y="249332"/>
                  <a:pt x="332765" y="247789"/>
                  <a:pt x="332224" y="249384"/>
                </a:cubicBezTo>
                <a:cubicBezTo>
                  <a:pt x="331649" y="251080"/>
                  <a:pt x="337439" y="251346"/>
                  <a:pt x="339258" y="252546"/>
                </a:cubicBezTo>
                <a:cubicBezTo>
                  <a:pt x="343880" y="255596"/>
                  <a:pt x="335749" y="255382"/>
                  <a:pt x="334445" y="256213"/>
                </a:cubicBezTo>
                <a:cubicBezTo>
                  <a:pt x="333159" y="257035"/>
                  <a:pt x="333794" y="258809"/>
                  <a:pt x="335552" y="258090"/>
                </a:cubicBezTo>
                <a:cubicBezTo>
                  <a:pt x="337251" y="257387"/>
                  <a:pt x="339558" y="255613"/>
                  <a:pt x="340612" y="258493"/>
                </a:cubicBezTo>
                <a:cubicBezTo>
                  <a:pt x="342037" y="262391"/>
                  <a:pt x="334188" y="276615"/>
                  <a:pt x="331907" y="275116"/>
                </a:cubicBezTo>
                <a:cubicBezTo>
                  <a:pt x="330663" y="274302"/>
                  <a:pt x="329377" y="275459"/>
                  <a:pt x="328210" y="275956"/>
                </a:cubicBezTo>
                <a:cubicBezTo>
                  <a:pt x="329771" y="279186"/>
                  <a:pt x="331735" y="282185"/>
                  <a:pt x="333991" y="284936"/>
                </a:cubicBezTo>
                <a:cubicBezTo>
                  <a:pt x="335535" y="282391"/>
                  <a:pt x="337971" y="278792"/>
                  <a:pt x="339000" y="278767"/>
                </a:cubicBezTo>
                <a:cubicBezTo>
                  <a:pt x="340458" y="278724"/>
                  <a:pt x="339969" y="277576"/>
                  <a:pt x="340518" y="276547"/>
                </a:cubicBezTo>
                <a:cubicBezTo>
                  <a:pt x="341196" y="275305"/>
                  <a:pt x="342928" y="276607"/>
                  <a:pt x="343049" y="274911"/>
                </a:cubicBezTo>
                <a:cubicBezTo>
                  <a:pt x="343168" y="273222"/>
                  <a:pt x="347492" y="270797"/>
                  <a:pt x="347989" y="268313"/>
                </a:cubicBezTo>
                <a:cubicBezTo>
                  <a:pt x="348246" y="266976"/>
                  <a:pt x="346651" y="265647"/>
                  <a:pt x="347311" y="264542"/>
                </a:cubicBezTo>
                <a:cubicBezTo>
                  <a:pt x="348118" y="263196"/>
                  <a:pt x="348701" y="262991"/>
                  <a:pt x="349568" y="262700"/>
                </a:cubicBezTo>
                <a:cubicBezTo>
                  <a:pt x="350433" y="262400"/>
                  <a:pt x="352484" y="264439"/>
                  <a:pt x="353110" y="263557"/>
                </a:cubicBezTo>
                <a:cubicBezTo>
                  <a:pt x="353736" y="262674"/>
                  <a:pt x="356789" y="263351"/>
                  <a:pt x="359122" y="264825"/>
                </a:cubicBezTo>
                <a:cubicBezTo>
                  <a:pt x="360186" y="265501"/>
                  <a:pt x="362253" y="264722"/>
                  <a:pt x="363523" y="266521"/>
                </a:cubicBezTo>
                <a:cubicBezTo>
                  <a:pt x="365281" y="268998"/>
                  <a:pt x="363437" y="269212"/>
                  <a:pt x="363754" y="269761"/>
                </a:cubicBezTo>
                <a:cubicBezTo>
                  <a:pt x="364063" y="270309"/>
                  <a:pt x="364826" y="269452"/>
                  <a:pt x="365289" y="269906"/>
                </a:cubicBezTo>
                <a:cubicBezTo>
                  <a:pt x="366276" y="270866"/>
                  <a:pt x="360709" y="274123"/>
                  <a:pt x="361344" y="275896"/>
                </a:cubicBezTo>
                <a:cubicBezTo>
                  <a:pt x="361970" y="277661"/>
                  <a:pt x="356627" y="286402"/>
                  <a:pt x="355160" y="287790"/>
                </a:cubicBezTo>
                <a:cubicBezTo>
                  <a:pt x="353144" y="289624"/>
                  <a:pt x="349816" y="287576"/>
                  <a:pt x="348504" y="287953"/>
                </a:cubicBezTo>
                <a:cubicBezTo>
                  <a:pt x="347088" y="288355"/>
                  <a:pt x="346814" y="289563"/>
                  <a:pt x="344635" y="289033"/>
                </a:cubicBezTo>
                <a:cubicBezTo>
                  <a:pt x="342954" y="288629"/>
                  <a:pt x="340939" y="289307"/>
                  <a:pt x="339077" y="290189"/>
                </a:cubicBezTo>
                <a:cubicBezTo>
                  <a:pt x="346952" y="297096"/>
                  <a:pt x="357261" y="301303"/>
                  <a:pt x="368540" y="301303"/>
                </a:cubicBezTo>
                <a:cubicBezTo>
                  <a:pt x="370968" y="301303"/>
                  <a:pt x="373343" y="301081"/>
                  <a:pt x="375660" y="300703"/>
                </a:cubicBezTo>
                <a:cubicBezTo>
                  <a:pt x="377109" y="298843"/>
                  <a:pt x="377709" y="296556"/>
                  <a:pt x="378018" y="294217"/>
                </a:cubicBezTo>
                <a:cubicBezTo>
                  <a:pt x="378199" y="292948"/>
                  <a:pt x="377976" y="291303"/>
                  <a:pt x="378645" y="290172"/>
                </a:cubicBezTo>
                <a:cubicBezTo>
                  <a:pt x="379219" y="289212"/>
                  <a:pt x="382873" y="284722"/>
                  <a:pt x="384331" y="284782"/>
                </a:cubicBezTo>
                <a:cubicBezTo>
                  <a:pt x="385609" y="284833"/>
                  <a:pt x="386484" y="285956"/>
                  <a:pt x="388328" y="285382"/>
                </a:cubicBezTo>
                <a:cubicBezTo>
                  <a:pt x="391905" y="284259"/>
                  <a:pt x="394118" y="285210"/>
                  <a:pt x="394152" y="286753"/>
                </a:cubicBezTo>
                <a:cubicBezTo>
                  <a:pt x="394204" y="288904"/>
                  <a:pt x="389649" y="288287"/>
                  <a:pt x="389838" y="289495"/>
                </a:cubicBezTo>
                <a:cubicBezTo>
                  <a:pt x="389958" y="290343"/>
                  <a:pt x="393260" y="291620"/>
                  <a:pt x="394341" y="290386"/>
                </a:cubicBezTo>
                <a:cubicBezTo>
                  <a:pt x="396365" y="288107"/>
                  <a:pt x="396065" y="285116"/>
                  <a:pt x="395542" y="284465"/>
                </a:cubicBezTo>
                <a:cubicBezTo>
                  <a:pt x="394109" y="282657"/>
                  <a:pt x="394195" y="281911"/>
                  <a:pt x="396254" y="282614"/>
                </a:cubicBezTo>
                <a:cubicBezTo>
                  <a:pt x="397523" y="283051"/>
                  <a:pt x="397514" y="278047"/>
                  <a:pt x="398724" y="276128"/>
                </a:cubicBezTo>
                <a:cubicBezTo>
                  <a:pt x="400371" y="273548"/>
                  <a:pt x="395679" y="275356"/>
                  <a:pt x="393723" y="275630"/>
                </a:cubicBezTo>
                <a:cubicBezTo>
                  <a:pt x="391879" y="275887"/>
                  <a:pt x="390352" y="271954"/>
                  <a:pt x="390310" y="270574"/>
                </a:cubicBezTo>
                <a:cubicBezTo>
                  <a:pt x="390275" y="269580"/>
                  <a:pt x="393809" y="274088"/>
                  <a:pt x="395593" y="274182"/>
                </a:cubicBezTo>
                <a:cubicBezTo>
                  <a:pt x="397609" y="274285"/>
                  <a:pt x="399993" y="271946"/>
                  <a:pt x="400019" y="270232"/>
                </a:cubicBezTo>
                <a:cubicBezTo>
                  <a:pt x="400062" y="268518"/>
                  <a:pt x="396176" y="268287"/>
                  <a:pt x="395585" y="266204"/>
                </a:cubicBezTo>
                <a:cubicBezTo>
                  <a:pt x="395259" y="265064"/>
                  <a:pt x="398741" y="266196"/>
                  <a:pt x="398475" y="265073"/>
                </a:cubicBezTo>
                <a:cubicBezTo>
                  <a:pt x="398252" y="264088"/>
                  <a:pt x="398827" y="261714"/>
                  <a:pt x="396631" y="260772"/>
                </a:cubicBezTo>
                <a:cubicBezTo>
                  <a:pt x="394444" y="259838"/>
                  <a:pt x="392437" y="252837"/>
                  <a:pt x="390686" y="252357"/>
                </a:cubicBezTo>
                <a:cubicBezTo>
                  <a:pt x="389134" y="251937"/>
                  <a:pt x="387839" y="254036"/>
                  <a:pt x="386887" y="254807"/>
                </a:cubicBezTo>
                <a:cubicBezTo>
                  <a:pt x="385944" y="255570"/>
                  <a:pt x="384434" y="254251"/>
                  <a:pt x="385223" y="253522"/>
                </a:cubicBezTo>
                <a:cubicBezTo>
                  <a:pt x="386347" y="252477"/>
                  <a:pt x="388954" y="250232"/>
                  <a:pt x="389495" y="248467"/>
                </a:cubicBezTo>
                <a:cubicBezTo>
                  <a:pt x="390404" y="245501"/>
                  <a:pt x="394220" y="248621"/>
                  <a:pt x="393543" y="244482"/>
                </a:cubicBezTo>
                <a:cubicBezTo>
                  <a:pt x="392814" y="240000"/>
                  <a:pt x="388988" y="240866"/>
                  <a:pt x="390764" y="238707"/>
                </a:cubicBezTo>
                <a:cubicBezTo>
                  <a:pt x="392582" y="236513"/>
                  <a:pt x="391227" y="232940"/>
                  <a:pt x="387531" y="233651"/>
                </a:cubicBezTo>
                <a:cubicBezTo>
                  <a:pt x="385824" y="233977"/>
                  <a:pt x="384031" y="231200"/>
                  <a:pt x="383851" y="228801"/>
                </a:cubicBezTo>
                <a:cubicBezTo>
                  <a:pt x="383739" y="227481"/>
                  <a:pt x="379948" y="227687"/>
                  <a:pt x="380094" y="226290"/>
                </a:cubicBezTo>
                <a:cubicBezTo>
                  <a:pt x="380394" y="223436"/>
                  <a:pt x="376114" y="223137"/>
                  <a:pt x="373498" y="223334"/>
                </a:cubicBezTo>
                <a:cubicBezTo>
                  <a:pt x="370882" y="223522"/>
                  <a:pt x="365821" y="219495"/>
                  <a:pt x="365255" y="218509"/>
                </a:cubicBezTo>
                <a:cubicBezTo>
                  <a:pt x="364698" y="217515"/>
                  <a:pt x="361061" y="219383"/>
                  <a:pt x="362262" y="215545"/>
                </a:cubicBezTo>
                <a:cubicBezTo>
                  <a:pt x="363445" y="211766"/>
                  <a:pt x="367031" y="216230"/>
                  <a:pt x="368540" y="215142"/>
                </a:cubicBezTo>
                <a:cubicBezTo>
                  <a:pt x="370171" y="213977"/>
                  <a:pt x="369664" y="212785"/>
                  <a:pt x="369398" y="211868"/>
                </a:cubicBezTo>
                <a:cubicBezTo>
                  <a:pt x="369107" y="211860"/>
                  <a:pt x="368823" y="211834"/>
                  <a:pt x="368540" y="211834"/>
                </a:cubicBezTo>
                <a:close/>
                <a:moveTo>
                  <a:pt x="198590" y="79032"/>
                </a:moveTo>
                <a:lnTo>
                  <a:pt x="226492" y="106907"/>
                </a:lnTo>
                <a:cubicBezTo>
                  <a:pt x="262302" y="72965"/>
                  <a:pt x="310241" y="51671"/>
                  <a:pt x="363051" y="50292"/>
                </a:cubicBezTo>
                <a:lnTo>
                  <a:pt x="363051" y="11037"/>
                </a:lnTo>
                <a:cubicBezTo>
                  <a:pt x="301217" y="12374"/>
                  <a:pt x="243209" y="36358"/>
                  <a:pt x="198590" y="79032"/>
                </a:cubicBezTo>
                <a:close/>
                <a:moveTo>
                  <a:pt x="122766" y="251080"/>
                </a:moveTo>
                <a:lnTo>
                  <a:pt x="162068" y="251080"/>
                </a:lnTo>
                <a:cubicBezTo>
                  <a:pt x="163449" y="198320"/>
                  <a:pt x="184763" y="150429"/>
                  <a:pt x="218729" y="114662"/>
                </a:cubicBezTo>
                <a:lnTo>
                  <a:pt x="190827" y="86787"/>
                </a:lnTo>
                <a:cubicBezTo>
                  <a:pt x="148121" y="131354"/>
                  <a:pt x="124113" y="189306"/>
                  <a:pt x="122766" y="251080"/>
                </a:cubicBezTo>
                <a:close/>
              </a:path>
            </a:pathLst>
          </a:custGeom>
          <a:solidFill>
            <a:srgbClr val="009EDB"/>
          </a:solidFill>
          <a:ln w="4834" cap="flat">
            <a:noFill/>
            <a:prstDash val="solid"/>
            <a:miter/>
          </a:ln>
        </p:spPr>
        <p:txBody>
          <a:bodyPr rtlCol="0" anchor="ctr"/>
          <a:lstStyle/>
          <a:p>
            <a:endParaRPr lang="en-US"/>
          </a:p>
        </p:txBody>
      </p:sp>
      <p:sp>
        <p:nvSpPr>
          <p:cNvPr id="14" name="Title 13">
            <a:extLst>
              <a:ext uri="{FF2B5EF4-FFF2-40B4-BE49-F238E27FC236}">
                <a16:creationId xmlns:a16="http://schemas.microsoft.com/office/drawing/2014/main" id="{B9871985-4E89-3092-A1BF-2B88F96147DE}"/>
              </a:ext>
            </a:extLst>
          </p:cNvPr>
          <p:cNvSpPr>
            <a:spLocks noGrp="1"/>
          </p:cNvSpPr>
          <p:nvPr>
            <p:ph type="title" hasCustomPrompt="1"/>
          </p:nvPr>
        </p:nvSpPr>
        <p:spPr>
          <a:xfrm>
            <a:off x="3954462" y="3543301"/>
            <a:ext cx="7666037" cy="1208721"/>
          </a:xfrm>
        </p:spPr>
        <p:txBody>
          <a:bodyPr anchor="b">
            <a:noAutofit/>
          </a:bodyPr>
          <a:lstStyle>
            <a:lvl1pPr>
              <a:defRPr sz="3600"/>
            </a:lvl1pPr>
          </a:lstStyle>
          <a:p>
            <a:r>
              <a:rPr lang="en-US"/>
              <a:t>Cover slide option 4 (Emblem): click to edit title</a:t>
            </a:r>
          </a:p>
        </p:txBody>
      </p:sp>
      <p:sp>
        <p:nvSpPr>
          <p:cNvPr id="15" name="Date Placeholder 14">
            <a:extLst>
              <a:ext uri="{FF2B5EF4-FFF2-40B4-BE49-F238E27FC236}">
                <a16:creationId xmlns:a16="http://schemas.microsoft.com/office/drawing/2014/main" id="{2DE5ED27-9E7C-AE4C-1694-3F0BCDE7ED8D}"/>
              </a:ext>
            </a:extLst>
          </p:cNvPr>
          <p:cNvSpPr>
            <a:spLocks noGrp="1"/>
          </p:cNvSpPr>
          <p:nvPr>
            <p:ph type="dt" sz="half" idx="10"/>
          </p:nvPr>
        </p:nvSpPr>
        <p:spPr/>
        <p:txBody>
          <a:bodyPr/>
          <a:lstStyle/>
          <a:p>
            <a:fld id="{BD2E1E39-40EF-FC47-9452-829C46BB363E}" type="datetime1">
              <a:rPr lang="en-US" smtClean="0"/>
              <a:t>11/28/2023</a:t>
            </a:fld>
            <a:endParaRPr lang="en-US"/>
          </a:p>
        </p:txBody>
      </p:sp>
      <p:sp>
        <p:nvSpPr>
          <p:cNvPr id="16" name="Footer Placeholder 15">
            <a:extLst>
              <a:ext uri="{FF2B5EF4-FFF2-40B4-BE49-F238E27FC236}">
                <a16:creationId xmlns:a16="http://schemas.microsoft.com/office/drawing/2014/main" id="{14ADF4A6-927D-EE55-88B4-AAFD12B9A0CD}"/>
              </a:ext>
            </a:extLst>
          </p:cNvPr>
          <p:cNvSpPr>
            <a:spLocks noGrp="1"/>
          </p:cNvSpPr>
          <p:nvPr>
            <p:ph type="ftr" sz="quarter" idx="11"/>
          </p:nvPr>
        </p:nvSpPr>
        <p:spPr/>
        <p:txBody>
          <a:bodyPr/>
          <a:lstStyle/>
          <a:p>
            <a:r>
              <a:rPr lang="en-US"/>
              <a:t>How to use this template</a:t>
            </a:r>
          </a:p>
        </p:txBody>
      </p:sp>
      <p:sp>
        <p:nvSpPr>
          <p:cNvPr id="17" name="Slide Number Placeholder 16">
            <a:extLst>
              <a:ext uri="{FF2B5EF4-FFF2-40B4-BE49-F238E27FC236}">
                <a16:creationId xmlns:a16="http://schemas.microsoft.com/office/drawing/2014/main" id="{3F9BFC5A-2FA6-7C20-CB42-993C8921C8CB}"/>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20" name="Picture Placeholder 19">
            <a:extLst>
              <a:ext uri="{FF2B5EF4-FFF2-40B4-BE49-F238E27FC236}">
                <a16:creationId xmlns:a16="http://schemas.microsoft.com/office/drawing/2014/main" id="{AD9051A5-79F1-D44C-4370-D119382D81FE}"/>
              </a:ext>
            </a:extLst>
          </p:cNvPr>
          <p:cNvSpPr>
            <a:spLocks noGrp="1"/>
          </p:cNvSpPr>
          <p:nvPr>
            <p:ph type="pic" sz="quarter" idx="13" hasCustomPrompt="1"/>
          </p:nvPr>
        </p:nvSpPr>
        <p:spPr>
          <a:xfrm>
            <a:off x="588963" y="0"/>
            <a:ext cx="11031537" cy="3314700"/>
          </a:xfrm>
          <a:pattFill prst="pct20">
            <a:fgClr>
              <a:schemeClr val="accent1"/>
            </a:fgClr>
            <a:bgClr>
              <a:schemeClr val="bg1"/>
            </a:bgClr>
          </a:pattFill>
        </p:spPr>
        <p:txBody>
          <a:bodyPr anchor="ctr"/>
          <a:lstStyle>
            <a:lvl1pPr algn="ctr">
              <a:defRPr/>
            </a:lvl1pPr>
          </a:lstStyle>
          <a:p>
            <a:r>
              <a:rPr lang="en-US"/>
              <a:t>Click to add a picture</a:t>
            </a:r>
          </a:p>
        </p:txBody>
      </p:sp>
    </p:spTree>
    <p:extLst>
      <p:ext uri="{BB962C8B-B14F-4D97-AF65-F5344CB8AC3E}">
        <p14:creationId xmlns:p14="http://schemas.microsoft.com/office/powerpoint/2010/main" val="22847237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Option 5 Office Logo">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A3254CC-B2A7-F7EA-CC6F-F805C100A717}"/>
              </a:ext>
            </a:extLst>
          </p:cNvPr>
          <p:cNvSpPr>
            <a:spLocks noGrp="1"/>
          </p:cNvSpPr>
          <p:nvPr>
            <p:ph type="subTitle" idx="1" hasCustomPrompt="1"/>
          </p:nvPr>
        </p:nvSpPr>
        <p:spPr>
          <a:xfrm>
            <a:off x="3954461" y="4752022"/>
            <a:ext cx="7666038" cy="962977"/>
          </a:xfrm>
        </p:spPr>
        <p:txBody>
          <a:bodyPr>
            <a:no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
        <p:nvSpPr>
          <p:cNvPr id="14" name="Title 13">
            <a:extLst>
              <a:ext uri="{FF2B5EF4-FFF2-40B4-BE49-F238E27FC236}">
                <a16:creationId xmlns:a16="http://schemas.microsoft.com/office/drawing/2014/main" id="{B9871985-4E89-3092-A1BF-2B88F96147DE}"/>
              </a:ext>
            </a:extLst>
          </p:cNvPr>
          <p:cNvSpPr>
            <a:spLocks noGrp="1"/>
          </p:cNvSpPr>
          <p:nvPr>
            <p:ph type="title" hasCustomPrompt="1"/>
          </p:nvPr>
        </p:nvSpPr>
        <p:spPr>
          <a:xfrm>
            <a:off x="3954462" y="3543301"/>
            <a:ext cx="7666037" cy="1208721"/>
          </a:xfrm>
        </p:spPr>
        <p:txBody>
          <a:bodyPr anchor="b">
            <a:noAutofit/>
          </a:bodyPr>
          <a:lstStyle>
            <a:lvl1pPr>
              <a:defRPr sz="3600"/>
            </a:lvl1pPr>
          </a:lstStyle>
          <a:p>
            <a:r>
              <a:rPr lang="en-US"/>
              <a:t>Cover slide option 5 (Office logo): click to edit title</a:t>
            </a:r>
          </a:p>
        </p:txBody>
      </p:sp>
      <p:sp>
        <p:nvSpPr>
          <p:cNvPr id="15" name="Date Placeholder 14">
            <a:extLst>
              <a:ext uri="{FF2B5EF4-FFF2-40B4-BE49-F238E27FC236}">
                <a16:creationId xmlns:a16="http://schemas.microsoft.com/office/drawing/2014/main" id="{2DE5ED27-9E7C-AE4C-1694-3F0BCDE7ED8D}"/>
              </a:ext>
            </a:extLst>
          </p:cNvPr>
          <p:cNvSpPr>
            <a:spLocks noGrp="1"/>
          </p:cNvSpPr>
          <p:nvPr>
            <p:ph type="dt" sz="half" idx="10"/>
          </p:nvPr>
        </p:nvSpPr>
        <p:spPr/>
        <p:txBody>
          <a:bodyPr/>
          <a:lstStyle/>
          <a:p>
            <a:fld id="{2F9461E1-02F7-8345-A14C-FA0A11F14D6A}" type="datetime1">
              <a:rPr lang="en-US" smtClean="0"/>
              <a:t>11/28/2023</a:t>
            </a:fld>
            <a:endParaRPr lang="en-US"/>
          </a:p>
        </p:txBody>
      </p:sp>
      <p:sp>
        <p:nvSpPr>
          <p:cNvPr id="16" name="Footer Placeholder 15">
            <a:extLst>
              <a:ext uri="{FF2B5EF4-FFF2-40B4-BE49-F238E27FC236}">
                <a16:creationId xmlns:a16="http://schemas.microsoft.com/office/drawing/2014/main" id="{14ADF4A6-927D-EE55-88B4-AAFD12B9A0CD}"/>
              </a:ext>
            </a:extLst>
          </p:cNvPr>
          <p:cNvSpPr>
            <a:spLocks noGrp="1"/>
          </p:cNvSpPr>
          <p:nvPr>
            <p:ph type="ftr" sz="quarter" idx="11"/>
          </p:nvPr>
        </p:nvSpPr>
        <p:spPr/>
        <p:txBody>
          <a:bodyPr/>
          <a:lstStyle/>
          <a:p>
            <a:r>
              <a:rPr lang="en-US"/>
              <a:t>How to use this template</a:t>
            </a:r>
          </a:p>
        </p:txBody>
      </p:sp>
      <p:sp>
        <p:nvSpPr>
          <p:cNvPr id="17" name="Slide Number Placeholder 16">
            <a:extLst>
              <a:ext uri="{FF2B5EF4-FFF2-40B4-BE49-F238E27FC236}">
                <a16:creationId xmlns:a16="http://schemas.microsoft.com/office/drawing/2014/main" id="{3F9BFC5A-2FA6-7C20-CB42-993C8921C8CB}"/>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20" name="Picture Placeholder 19">
            <a:extLst>
              <a:ext uri="{FF2B5EF4-FFF2-40B4-BE49-F238E27FC236}">
                <a16:creationId xmlns:a16="http://schemas.microsoft.com/office/drawing/2014/main" id="{AD9051A5-79F1-D44C-4370-D119382D81FE}"/>
              </a:ext>
            </a:extLst>
          </p:cNvPr>
          <p:cNvSpPr>
            <a:spLocks noGrp="1"/>
          </p:cNvSpPr>
          <p:nvPr>
            <p:ph type="pic" sz="quarter" idx="13" hasCustomPrompt="1"/>
          </p:nvPr>
        </p:nvSpPr>
        <p:spPr>
          <a:xfrm>
            <a:off x="588963" y="0"/>
            <a:ext cx="11031537" cy="3314700"/>
          </a:xfrm>
          <a:pattFill prst="pct20">
            <a:fgClr>
              <a:schemeClr val="accent1"/>
            </a:fgClr>
            <a:bgClr>
              <a:schemeClr val="bg1"/>
            </a:bgClr>
          </a:pattFill>
        </p:spPr>
        <p:txBody>
          <a:bodyPr anchor="ctr"/>
          <a:lstStyle>
            <a:lvl1pPr algn="ctr">
              <a:defRPr/>
            </a:lvl1pPr>
          </a:lstStyle>
          <a:p>
            <a:r>
              <a:rPr lang="en-US"/>
              <a:t>Click to add a picture</a:t>
            </a:r>
          </a:p>
        </p:txBody>
      </p:sp>
      <p:sp>
        <p:nvSpPr>
          <p:cNvPr id="5" name="Picture Placeholder 4">
            <a:extLst>
              <a:ext uri="{FF2B5EF4-FFF2-40B4-BE49-F238E27FC236}">
                <a16:creationId xmlns:a16="http://schemas.microsoft.com/office/drawing/2014/main" id="{8E85E7FC-4174-5D83-0202-E98AFF162971}"/>
              </a:ext>
            </a:extLst>
          </p:cNvPr>
          <p:cNvSpPr>
            <a:spLocks noGrp="1"/>
          </p:cNvSpPr>
          <p:nvPr>
            <p:ph type="pic" sz="quarter" idx="14" hasCustomPrompt="1"/>
          </p:nvPr>
        </p:nvSpPr>
        <p:spPr>
          <a:xfrm>
            <a:off x="588963" y="5943600"/>
            <a:ext cx="2008187" cy="571500"/>
          </a:xfrm>
        </p:spPr>
        <p:txBody>
          <a:bodyPr>
            <a:noAutofit/>
          </a:bodyPr>
          <a:lstStyle>
            <a:lvl1pPr>
              <a:defRPr sz="1600"/>
            </a:lvl1pPr>
          </a:lstStyle>
          <a:p>
            <a:r>
              <a:rPr lang="en-US"/>
              <a:t>Click to insert your logo SVG or PNG</a:t>
            </a:r>
          </a:p>
        </p:txBody>
      </p:sp>
    </p:spTree>
    <p:extLst>
      <p:ext uri="{BB962C8B-B14F-4D97-AF65-F5344CB8AC3E}">
        <p14:creationId xmlns:p14="http://schemas.microsoft.com/office/powerpoint/2010/main" val="20814831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FD29F-7E69-535E-0A2C-4225A4C66728}"/>
              </a:ext>
            </a:extLst>
          </p:cNvPr>
          <p:cNvSpPr>
            <a:spLocks noGrp="1"/>
          </p:cNvSpPr>
          <p:nvPr>
            <p:ph type="title" hasCustomPrompt="1"/>
          </p:nvPr>
        </p:nvSpPr>
        <p:spPr/>
        <p:txBody>
          <a:bodyPr>
            <a:noAutofit/>
          </a:bodyPr>
          <a:lstStyle/>
          <a:p>
            <a:r>
              <a:rPr lang="en-US"/>
              <a:t>Table of contents: Click to edit title</a:t>
            </a:r>
          </a:p>
        </p:txBody>
      </p:sp>
      <p:sp>
        <p:nvSpPr>
          <p:cNvPr id="4" name="Date Placeholder 3">
            <a:extLst>
              <a:ext uri="{FF2B5EF4-FFF2-40B4-BE49-F238E27FC236}">
                <a16:creationId xmlns:a16="http://schemas.microsoft.com/office/drawing/2014/main" id="{EC406F05-2F7E-AC94-7656-6071EAD92110}"/>
              </a:ext>
            </a:extLst>
          </p:cNvPr>
          <p:cNvSpPr>
            <a:spLocks noGrp="1"/>
          </p:cNvSpPr>
          <p:nvPr>
            <p:ph type="dt" sz="half" idx="10"/>
          </p:nvPr>
        </p:nvSpPr>
        <p:spPr/>
        <p:txBody>
          <a:bodyPr>
            <a:noAutofit/>
          </a:bodyPr>
          <a:lstStyle/>
          <a:p>
            <a:fld id="{4F283FEA-6B04-C44D-9025-04B73A393E05}" type="datetime1">
              <a:rPr lang="en-US" smtClean="0"/>
              <a:t>11/28/2023</a:t>
            </a:fld>
            <a:endParaRPr lang="en-US"/>
          </a:p>
        </p:txBody>
      </p:sp>
      <p:sp>
        <p:nvSpPr>
          <p:cNvPr id="5" name="Footer Placeholder 4">
            <a:extLst>
              <a:ext uri="{FF2B5EF4-FFF2-40B4-BE49-F238E27FC236}">
                <a16:creationId xmlns:a16="http://schemas.microsoft.com/office/drawing/2014/main" id="{06976099-91CE-0A2E-A0BE-04F37180931D}"/>
              </a:ext>
            </a:extLst>
          </p:cNvPr>
          <p:cNvSpPr>
            <a:spLocks noGrp="1"/>
          </p:cNvSpPr>
          <p:nvPr>
            <p:ph type="ftr" sz="quarter" idx="11"/>
          </p:nvPr>
        </p:nvSpPr>
        <p:spPr/>
        <p:txBody>
          <a:bodyPr>
            <a:noAutofit/>
          </a:bodyPr>
          <a:lstStyle/>
          <a:p>
            <a:r>
              <a:rPr lang="en-US"/>
              <a:t>How to use this template</a:t>
            </a:r>
          </a:p>
        </p:txBody>
      </p:sp>
      <p:sp>
        <p:nvSpPr>
          <p:cNvPr id="6" name="Slide Number Placeholder 5">
            <a:extLst>
              <a:ext uri="{FF2B5EF4-FFF2-40B4-BE49-F238E27FC236}">
                <a16:creationId xmlns:a16="http://schemas.microsoft.com/office/drawing/2014/main" id="{D5BA5522-16B3-8D22-8F5D-1395693EEFF6}"/>
              </a:ext>
            </a:extLst>
          </p:cNvPr>
          <p:cNvSpPr>
            <a:spLocks noGrp="1"/>
          </p:cNvSpPr>
          <p:nvPr>
            <p:ph type="sldNum" sz="quarter" idx="12"/>
          </p:nvPr>
        </p:nvSpPr>
        <p:spPr/>
        <p:txBody>
          <a:bodyPr>
            <a:noAutofit/>
          </a:bodyPr>
          <a:lstStyle/>
          <a:p>
            <a:fld id="{3AEF997A-A681-BA4B-BE23-60D9BF002CFB}" type="slidenum">
              <a:rPr lang="en-US" smtClean="0"/>
              <a:t>‹#›</a:t>
            </a:fld>
            <a:endParaRPr lang="en-US"/>
          </a:p>
        </p:txBody>
      </p:sp>
      <p:sp>
        <p:nvSpPr>
          <p:cNvPr id="16" name="Rectangle 15">
            <a:extLst>
              <a:ext uri="{FF2B5EF4-FFF2-40B4-BE49-F238E27FC236}">
                <a16:creationId xmlns:a16="http://schemas.microsoft.com/office/drawing/2014/main" id="{4F3223C7-4381-F8B8-5026-B60EDF88D427}"/>
              </a:ext>
            </a:extLst>
          </p:cNvPr>
          <p:cNvSpPr/>
          <p:nvPr userDrawn="1"/>
        </p:nvSpPr>
        <p:spPr>
          <a:xfrm>
            <a:off x="588892" y="6162337"/>
            <a:ext cx="11031608" cy="695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5" name="Text Placeholder 14">
            <a:extLst>
              <a:ext uri="{FF2B5EF4-FFF2-40B4-BE49-F238E27FC236}">
                <a16:creationId xmlns:a16="http://schemas.microsoft.com/office/drawing/2014/main" id="{B4885EBB-8B56-9C1D-8FFD-61AC1C40B3D4}"/>
              </a:ext>
            </a:extLst>
          </p:cNvPr>
          <p:cNvSpPr>
            <a:spLocks noGrp="1"/>
          </p:cNvSpPr>
          <p:nvPr>
            <p:ph type="body" sz="quarter" idx="13"/>
          </p:nvPr>
        </p:nvSpPr>
        <p:spPr>
          <a:xfrm>
            <a:off x="588963" y="1943100"/>
            <a:ext cx="4264025" cy="3771900"/>
          </a:xfrm>
        </p:spPr>
        <p:txBody>
          <a:bodyPr/>
          <a:lstStyle>
            <a:lvl1pPr>
              <a:defRPr sz="1800" b="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4">
            <a:extLst>
              <a:ext uri="{FF2B5EF4-FFF2-40B4-BE49-F238E27FC236}">
                <a16:creationId xmlns:a16="http://schemas.microsoft.com/office/drawing/2014/main" id="{D1E5E43F-915D-1D4F-F297-337B13DEA398}"/>
              </a:ext>
            </a:extLst>
          </p:cNvPr>
          <p:cNvSpPr>
            <a:spLocks noGrp="1"/>
          </p:cNvSpPr>
          <p:nvPr>
            <p:ph type="body" sz="quarter" idx="14"/>
          </p:nvPr>
        </p:nvSpPr>
        <p:spPr>
          <a:xfrm>
            <a:off x="5099052" y="1943100"/>
            <a:ext cx="4265612" cy="3771900"/>
          </a:xfrm>
        </p:spPr>
        <p:txBody>
          <a:bodyPr/>
          <a:lstStyle>
            <a:lvl1pPr>
              <a:defRPr sz="1800" b="1"/>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5819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68C3-542F-44C9-96A1-F0C2A16BE6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FA4C16-D351-4F65-89FB-DBACEB361D4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6400900-6EA7-497D-8795-24333B91C4B8}"/>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5" name="Footer Placeholder 4">
            <a:extLst>
              <a:ext uri="{FF2B5EF4-FFF2-40B4-BE49-F238E27FC236}">
                <a16:creationId xmlns:a16="http://schemas.microsoft.com/office/drawing/2014/main" id="{B2589797-B810-4869-A342-2FF41F004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834DCA-3EA9-4C80-800B-09F28412179A}"/>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1562285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7CB1F-9039-C2E9-D0A2-7F214E7D71D8}"/>
              </a:ext>
            </a:extLst>
          </p:cNvPr>
          <p:cNvSpPr>
            <a:spLocks noGrp="1"/>
          </p:cNvSpPr>
          <p:nvPr>
            <p:ph type="title" hasCustomPrompt="1"/>
          </p:nvPr>
        </p:nvSpPr>
        <p:spPr>
          <a:xfrm>
            <a:off x="571500" y="3543301"/>
            <a:ext cx="8793163" cy="1371600"/>
          </a:xfrm>
        </p:spPr>
        <p:txBody>
          <a:bodyPr anchor="b">
            <a:noAutofit/>
          </a:bodyPr>
          <a:lstStyle>
            <a:lvl1pPr>
              <a:defRPr sz="3200"/>
            </a:lvl1pPr>
          </a:lstStyle>
          <a:p>
            <a:r>
              <a:rPr lang="en-US"/>
              <a:t>Section break without picture: Click to edit section break title</a:t>
            </a:r>
          </a:p>
        </p:txBody>
      </p:sp>
      <p:sp>
        <p:nvSpPr>
          <p:cNvPr id="3" name="Text Placeholder 2">
            <a:extLst>
              <a:ext uri="{FF2B5EF4-FFF2-40B4-BE49-F238E27FC236}">
                <a16:creationId xmlns:a16="http://schemas.microsoft.com/office/drawing/2014/main" id="{F3A51C68-0A4D-4E95-C49C-1A2078BE3868}"/>
              </a:ext>
            </a:extLst>
          </p:cNvPr>
          <p:cNvSpPr>
            <a:spLocks noGrp="1"/>
          </p:cNvSpPr>
          <p:nvPr>
            <p:ph type="body" idx="1" hasCustomPrompt="1"/>
          </p:nvPr>
        </p:nvSpPr>
        <p:spPr>
          <a:xfrm>
            <a:off x="571500" y="4914901"/>
            <a:ext cx="8793163" cy="800100"/>
          </a:xfrm>
        </p:spPr>
        <p:txBody>
          <a:bodyPr>
            <a:noAutofit/>
          </a:bodyPr>
          <a:lstStyle>
            <a:lvl1pPr marL="0" indent="0">
              <a:buNone/>
              <a:defRPr sz="24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ection break text/subtitle</a:t>
            </a:r>
          </a:p>
        </p:txBody>
      </p:sp>
      <p:sp>
        <p:nvSpPr>
          <p:cNvPr id="4" name="Date Placeholder 3">
            <a:extLst>
              <a:ext uri="{FF2B5EF4-FFF2-40B4-BE49-F238E27FC236}">
                <a16:creationId xmlns:a16="http://schemas.microsoft.com/office/drawing/2014/main" id="{059257CD-4724-171E-15AC-03AEE565C551}"/>
              </a:ext>
            </a:extLst>
          </p:cNvPr>
          <p:cNvSpPr>
            <a:spLocks noGrp="1"/>
          </p:cNvSpPr>
          <p:nvPr>
            <p:ph type="dt" sz="half" idx="10"/>
          </p:nvPr>
        </p:nvSpPr>
        <p:spPr/>
        <p:txBody>
          <a:bodyPr/>
          <a:lstStyle/>
          <a:p>
            <a:fld id="{C8C6AE4B-13CB-D84D-A989-BC3589992D15}" type="datetime1">
              <a:rPr lang="en-US" smtClean="0"/>
              <a:t>11/28/2023</a:t>
            </a:fld>
            <a:endParaRPr lang="en-US"/>
          </a:p>
        </p:txBody>
      </p:sp>
      <p:sp>
        <p:nvSpPr>
          <p:cNvPr id="5" name="Footer Placeholder 4">
            <a:extLst>
              <a:ext uri="{FF2B5EF4-FFF2-40B4-BE49-F238E27FC236}">
                <a16:creationId xmlns:a16="http://schemas.microsoft.com/office/drawing/2014/main" id="{5240C8BA-5E97-D332-590A-A74206810525}"/>
              </a:ext>
            </a:extLst>
          </p:cNvPr>
          <p:cNvSpPr>
            <a:spLocks noGrp="1"/>
          </p:cNvSpPr>
          <p:nvPr>
            <p:ph type="ftr" sz="quarter" idx="11"/>
          </p:nvPr>
        </p:nvSpPr>
        <p:spPr/>
        <p:txBody>
          <a:bodyPr/>
          <a:lstStyle/>
          <a:p>
            <a:r>
              <a:rPr lang="en-US"/>
              <a:t>How to use this template</a:t>
            </a:r>
          </a:p>
        </p:txBody>
      </p:sp>
      <p:sp>
        <p:nvSpPr>
          <p:cNvPr id="6" name="Slide Number Placeholder 5">
            <a:extLst>
              <a:ext uri="{FF2B5EF4-FFF2-40B4-BE49-F238E27FC236}">
                <a16:creationId xmlns:a16="http://schemas.microsoft.com/office/drawing/2014/main" id="{0ECC7067-79E6-5E4A-2A26-6F95B13EE503}"/>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7" name="Rectangle 6">
            <a:extLst>
              <a:ext uri="{FF2B5EF4-FFF2-40B4-BE49-F238E27FC236}">
                <a16:creationId xmlns:a16="http://schemas.microsoft.com/office/drawing/2014/main" id="{F85AE89B-0627-AC1E-FB7B-419A15C997A6}"/>
              </a:ext>
            </a:extLst>
          </p:cNvPr>
          <p:cNvSpPr/>
          <p:nvPr userDrawn="1"/>
        </p:nvSpPr>
        <p:spPr>
          <a:xfrm>
            <a:off x="588892" y="0"/>
            <a:ext cx="11031608" cy="33147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28584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5" name="Date Placeholder 14">
            <a:extLst>
              <a:ext uri="{FF2B5EF4-FFF2-40B4-BE49-F238E27FC236}">
                <a16:creationId xmlns:a16="http://schemas.microsoft.com/office/drawing/2014/main" id="{2DE5ED27-9E7C-AE4C-1694-3F0BCDE7ED8D}"/>
              </a:ext>
            </a:extLst>
          </p:cNvPr>
          <p:cNvSpPr>
            <a:spLocks noGrp="1"/>
          </p:cNvSpPr>
          <p:nvPr>
            <p:ph type="dt" sz="half" idx="10"/>
          </p:nvPr>
        </p:nvSpPr>
        <p:spPr/>
        <p:txBody>
          <a:bodyPr/>
          <a:lstStyle/>
          <a:p>
            <a:fld id="{714A5391-CCC2-2546-A09D-CD936ABB9CC1}" type="datetime1">
              <a:rPr lang="en-US" smtClean="0"/>
              <a:t>11/28/2023</a:t>
            </a:fld>
            <a:endParaRPr lang="en-US"/>
          </a:p>
        </p:txBody>
      </p:sp>
      <p:sp>
        <p:nvSpPr>
          <p:cNvPr id="16" name="Footer Placeholder 15">
            <a:extLst>
              <a:ext uri="{FF2B5EF4-FFF2-40B4-BE49-F238E27FC236}">
                <a16:creationId xmlns:a16="http://schemas.microsoft.com/office/drawing/2014/main" id="{14ADF4A6-927D-EE55-88B4-AAFD12B9A0CD}"/>
              </a:ext>
            </a:extLst>
          </p:cNvPr>
          <p:cNvSpPr>
            <a:spLocks noGrp="1"/>
          </p:cNvSpPr>
          <p:nvPr>
            <p:ph type="ftr" sz="quarter" idx="11"/>
          </p:nvPr>
        </p:nvSpPr>
        <p:spPr/>
        <p:txBody>
          <a:bodyPr/>
          <a:lstStyle/>
          <a:p>
            <a:r>
              <a:rPr lang="en-US"/>
              <a:t>How to use this template</a:t>
            </a:r>
          </a:p>
        </p:txBody>
      </p:sp>
      <p:sp>
        <p:nvSpPr>
          <p:cNvPr id="17" name="Slide Number Placeholder 16">
            <a:extLst>
              <a:ext uri="{FF2B5EF4-FFF2-40B4-BE49-F238E27FC236}">
                <a16:creationId xmlns:a16="http://schemas.microsoft.com/office/drawing/2014/main" id="{3F9BFC5A-2FA6-7C20-CB42-993C8921C8CB}"/>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20" name="Picture Placeholder 19">
            <a:extLst>
              <a:ext uri="{FF2B5EF4-FFF2-40B4-BE49-F238E27FC236}">
                <a16:creationId xmlns:a16="http://schemas.microsoft.com/office/drawing/2014/main" id="{AD9051A5-79F1-D44C-4370-D119382D81FE}"/>
              </a:ext>
            </a:extLst>
          </p:cNvPr>
          <p:cNvSpPr>
            <a:spLocks noGrp="1"/>
          </p:cNvSpPr>
          <p:nvPr>
            <p:ph type="pic" sz="quarter" idx="13" hasCustomPrompt="1"/>
          </p:nvPr>
        </p:nvSpPr>
        <p:spPr>
          <a:xfrm>
            <a:off x="588892" y="0"/>
            <a:ext cx="6497708" cy="5715000"/>
          </a:xfrm>
          <a:pattFill prst="pct20">
            <a:fgClr>
              <a:schemeClr val="accent1"/>
            </a:fgClr>
            <a:bgClr>
              <a:schemeClr val="bg1"/>
            </a:bgClr>
          </a:pattFill>
        </p:spPr>
        <p:txBody>
          <a:bodyPr anchor="ctr"/>
          <a:lstStyle>
            <a:lvl1pPr algn="ctr">
              <a:defRPr/>
            </a:lvl1pPr>
          </a:lstStyle>
          <a:p>
            <a:r>
              <a:rPr lang="en-US"/>
              <a:t>Click to add a Picture</a:t>
            </a:r>
          </a:p>
        </p:txBody>
      </p:sp>
      <p:sp>
        <p:nvSpPr>
          <p:cNvPr id="2" name="Title 1">
            <a:extLst>
              <a:ext uri="{FF2B5EF4-FFF2-40B4-BE49-F238E27FC236}">
                <a16:creationId xmlns:a16="http://schemas.microsoft.com/office/drawing/2014/main" id="{F37B5D4E-8A94-9134-9ABA-C1FCD06A3D19}"/>
              </a:ext>
            </a:extLst>
          </p:cNvPr>
          <p:cNvSpPr>
            <a:spLocks noGrp="1"/>
          </p:cNvSpPr>
          <p:nvPr>
            <p:ph type="title" hasCustomPrompt="1"/>
          </p:nvPr>
        </p:nvSpPr>
        <p:spPr>
          <a:xfrm>
            <a:off x="7337425" y="342900"/>
            <a:ext cx="4283075" cy="2400300"/>
          </a:xfrm>
        </p:spPr>
        <p:txBody>
          <a:bodyPr anchor="b">
            <a:noAutofit/>
          </a:bodyPr>
          <a:lstStyle>
            <a:lvl1pPr>
              <a:defRPr sz="3200"/>
            </a:lvl1pPr>
          </a:lstStyle>
          <a:p>
            <a:r>
              <a:rPr lang="en-US"/>
              <a:t>Section break with picture: click to edit section break title</a:t>
            </a:r>
          </a:p>
        </p:txBody>
      </p:sp>
      <p:sp>
        <p:nvSpPr>
          <p:cNvPr id="4" name="Text Placeholder 2">
            <a:extLst>
              <a:ext uri="{FF2B5EF4-FFF2-40B4-BE49-F238E27FC236}">
                <a16:creationId xmlns:a16="http://schemas.microsoft.com/office/drawing/2014/main" id="{BF15CBB5-AA90-F9C9-64C5-D33E184791E9}"/>
              </a:ext>
            </a:extLst>
          </p:cNvPr>
          <p:cNvSpPr>
            <a:spLocks noGrp="1"/>
          </p:cNvSpPr>
          <p:nvPr>
            <p:ph type="body" idx="1" hasCustomPrompt="1"/>
          </p:nvPr>
        </p:nvSpPr>
        <p:spPr>
          <a:xfrm>
            <a:off x="7337425" y="2743200"/>
            <a:ext cx="4265683" cy="2971800"/>
          </a:xfrm>
        </p:spPr>
        <p:txBody>
          <a:bodyPr>
            <a:noAutofit/>
          </a:bodyPr>
          <a:lstStyle>
            <a:lvl1pPr marL="0" indent="0">
              <a:buNone/>
              <a:defRPr sz="240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ection break text/subtitle</a:t>
            </a:r>
          </a:p>
        </p:txBody>
      </p:sp>
    </p:spTree>
    <p:extLst>
      <p:ext uri="{BB962C8B-B14F-4D97-AF65-F5344CB8AC3E}">
        <p14:creationId xmlns:p14="http://schemas.microsoft.com/office/powerpoint/2010/main" val="8833831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p:txBody>
          <a:bodyPr/>
          <a:lstStyle/>
          <a:p>
            <a:r>
              <a:rPr lang="en-US"/>
              <a:t>One/Two columns layout: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F3DB707A-5826-504A-A05E-18F2DDA03DB4}"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Text Placeholder 8">
            <a:extLst>
              <a:ext uri="{FF2B5EF4-FFF2-40B4-BE49-F238E27FC236}">
                <a16:creationId xmlns:a16="http://schemas.microsoft.com/office/drawing/2014/main" id="{89CC9540-4936-A722-D4D8-6F2DD1E375C4}"/>
              </a:ext>
            </a:extLst>
          </p:cNvPr>
          <p:cNvSpPr>
            <a:spLocks noGrp="1"/>
          </p:cNvSpPr>
          <p:nvPr>
            <p:ph type="body" sz="quarter" idx="13" hasCustomPrompt="1"/>
          </p:nvPr>
        </p:nvSpPr>
        <p:spPr>
          <a:xfrm>
            <a:off x="571500" y="1943100"/>
            <a:ext cx="5410200" cy="377190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79DCC21B-4B9B-5B32-FFB5-6D422F688838}"/>
              </a:ext>
            </a:extLst>
          </p:cNvPr>
          <p:cNvSpPr>
            <a:spLocks noGrp="1"/>
          </p:cNvSpPr>
          <p:nvPr>
            <p:ph type="body" sz="quarter" idx="14" hasCustomPrompt="1"/>
          </p:nvPr>
        </p:nvSpPr>
        <p:spPr>
          <a:xfrm>
            <a:off x="6219265" y="1943100"/>
            <a:ext cx="5410200" cy="3771900"/>
          </a:xfrm>
        </p:spPr>
        <p:txBody>
          <a:bodyPr/>
          <a:lstStyle/>
          <a:p>
            <a:pPr lvl="0"/>
            <a:r>
              <a:rPr lang="en-US"/>
              <a:t>Click to edit text. Delete this text box for a single column layout</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3CD436A9-C91A-C3AF-929E-6AAD9788D1AA}"/>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87300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p:txBody>
          <a:bodyPr/>
          <a:lstStyle/>
          <a:p>
            <a:r>
              <a:rPr lang="en-US"/>
              <a:t>Three columns layout: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9E5F03DE-0A15-1149-B908-57C27F399ED8}"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Rectangle 8">
            <a:extLst>
              <a:ext uri="{FF2B5EF4-FFF2-40B4-BE49-F238E27FC236}">
                <a16:creationId xmlns:a16="http://schemas.microsoft.com/office/drawing/2014/main" id="{877B44EB-EEC2-A738-CAC4-6D457D8E7173}"/>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5577D44E-B83B-9C2C-E5BE-0DF0851038E6}"/>
              </a:ext>
            </a:extLst>
          </p:cNvPr>
          <p:cNvSpPr>
            <a:spLocks noGrp="1"/>
          </p:cNvSpPr>
          <p:nvPr>
            <p:ph type="body" sz="quarter" idx="14"/>
          </p:nvPr>
        </p:nvSpPr>
        <p:spPr>
          <a:xfrm>
            <a:off x="571500" y="1943100"/>
            <a:ext cx="3154363" cy="3771900"/>
          </a:xfrm>
        </p:spPr>
        <p:txBody>
          <a:bodyPr>
            <a:noAutofit/>
          </a:bodyPr>
          <a:lstStyle>
            <a:lvl1pPr>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0">
            <a:extLst>
              <a:ext uri="{FF2B5EF4-FFF2-40B4-BE49-F238E27FC236}">
                <a16:creationId xmlns:a16="http://schemas.microsoft.com/office/drawing/2014/main" id="{5C4E8B7B-FBD6-1767-7410-81200DFE54FC}"/>
              </a:ext>
            </a:extLst>
          </p:cNvPr>
          <p:cNvSpPr>
            <a:spLocks noGrp="1"/>
          </p:cNvSpPr>
          <p:nvPr>
            <p:ph type="body" sz="quarter" idx="15"/>
          </p:nvPr>
        </p:nvSpPr>
        <p:spPr>
          <a:xfrm>
            <a:off x="3954780" y="1943100"/>
            <a:ext cx="3154363" cy="3771900"/>
          </a:xfrm>
        </p:spPr>
        <p:txBody>
          <a:bodyPr>
            <a:noAutofit/>
          </a:bodyPr>
          <a:lstStyle>
            <a:lvl1pPr>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F8E4DE0D-857E-A509-8F2C-C6829799B392}"/>
              </a:ext>
            </a:extLst>
          </p:cNvPr>
          <p:cNvSpPr>
            <a:spLocks noGrp="1"/>
          </p:cNvSpPr>
          <p:nvPr>
            <p:ph type="body" sz="quarter" idx="16"/>
          </p:nvPr>
        </p:nvSpPr>
        <p:spPr>
          <a:xfrm>
            <a:off x="7338060" y="1943100"/>
            <a:ext cx="3154363" cy="3771900"/>
          </a:xfrm>
        </p:spPr>
        <p:txBody>
          <a:bodyPr>
            <a:noAutofit/>
          </a:bodyPr>
          <a:lstStyle>
            <a:lvl1pPr>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193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Two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p:txBody>
          <a:bodyPr/>
          <a:lstStyle/>
          <a:p>
            <a:r>
              <a:rPr lang="en-US"/>
              <a:t>One/Two columns layout with icon: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0445E9F4-8F0A-174A-B1CB-8EBE30C367B5}"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Text Placeholder 8">
            <a:extLst>
              <a:ext uri="{FF2B5EF4-FFF2-40B4-BE49-F238E27FC236}">
                <a16:creationId xmlns:a16="http://schemas.microsoft.com/office/drawing/2014/main" id="{89CC9540-4936-A722-D4D8-6F2DD1E375C4}"/>
              </a:ext>
            </a:extLst>
          </p:cNvPr>
          <p:cNvSpPr>
            <a:spLocks noGrp="1"/>
          </p:cNvSpPr>
          <p:nvPr>
            <p:ph type="body" sz="quarter" idx="13" hasCustomPrompt="1"/>
          </p:nvPr>
        </p:nvSpPr>
        <p:spPr>
          <a:xfrm>
            <a:off x="571500" y="1943100"/>
            <a:ext cx="5410200" cy="377190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79DCC21B-4B9B-5B32-FFB5-6D422F688838}"/>
              </a:ext>
            </a:extLst>
          </p:cNvPr>
          <p:cNvSpPr>
            <a:spLocks noGrp="1"/>
          </p:cNvSpPr>
          <p:nvPr>
            <p:ph type="body" sz="quarter" idx="14" hasCustomPrompt="1"/>
          </p:nvPr>
        </p:nvSpPr>
        <p:spPr>
          <a:xfrm>
            <a:off x="6219265" y="1943100"/>
            <a:ext cx="5410200" cy="3771900"/>
          </a:xfrm>
        </p:spPr>
        <p:txBody>
          <a:bodyPr/>
          <a:lstStyle/>
          <a:p>
            <a:pPr lvl="0"/>
            <a:r>
              <a:rPr lang="en-US"/>
              <a:t>Click to edit text. Delete this text box for a single column layout</a:t>
            </a:r>
          </a:p>
          <a:p>
            <a:pPr lvl="1"/>
            <a:r>
              <a:rPr lang="en-US"/>
              <a:t>Second level</a:t>
            </a:r>
          </a:p>
          <a:p>
            <a:pPr lvl="2"/>
            <a:r>
              <a:rPr lang="en-US"/>
              <a:t>Third level</a:t>
            </a:r>
          </a:p>
          <a:p>
            <a:pPr lvl="3"/>
            <a:r>
              <a:rPr lang="en-US"/>
              <a:t>Fourth level</a:t>
            </a:r>
          </a:p>
          <a:p>
            <a:pPr lvl="4"/>
            <a:r>
              <a:rPr lang="en-US"/>
              <a:t>Fifth level</a:t>
            </a:r>
          </a:p>
        </p:txBody>
      </p:sp>
      <p:sp>
        <p:nvSpPr>
          <p:cNvPr id="3" name="Rectangle 2">
            <a:extLst>
              <a:ext uri="{FF2B5EF4-FFF2-40B4-BE49-F238E27FC236}">
                <a16:creationId xmlns:a16="http://schemas.microsoft.com/office/drawing/2014/main" id="{FE58FEF0-D15D-C783-3915-C2BB1A639F5F}"/>
              </a:ext>
            </a:extLst>
          </p:cNvPr>
          <p:cNvSpPr/>
          <p:nvPr userDrawn="1"/>
        </p:nvSpPr>
        <p:spPr>
          <a:xfrm>
            <a:off x="9593263" y="0"/>
            <a:ext cx="2036202" cy="1714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9">
            <a:extLst>
              <a:ext uri="{FF2B5EF4-FFF2-40B4-BE49-F238E27FC236}">
                <a16:creationId xmlns:a16="http://schemas.microsoft.com/office/drawing/2014/main" id="{F53634DE-3DCF-89D7-D1DA-238A3F706EFD}"/>
              </a:ext>
            </a:extLst>
          </p:cNvPr>
          <p:cNvSpPr>
            <a:spLocks noGrp="1" noChangeAspect="1"/>
          </p:cNvSpPr>
          <p:nvPr>
            <p:ph type="pic" sz="quarter" idx="15" hasCustomPrompt="1"/>
          </p:nvPr>
        </p:nvSpPr>
        <p:spPr>
          <a:xfrm>
            <a:off x="10086077" y="334948"/>
            <a:ext cx="1050573" cy="1044604"/>
          </a:xfrm>
          <a:noFill/>
        </p:spPr>
        <p:txBody>
          <a:bodyPr anchor="ctr">
            <a:noAutofit/>
          </a:bodyPr>
          <a:lstStyle>
            <a:lvl1pPr algn="ctr">
              <a:defRPr sz="1000" b="1">
                <a:solidFill>
                  <a:schemeClr val="tx1"/>
                </a:solidFill>
                <a:highlight>
                  <a:srgbClr val="FFFF00"/>
                </a:highlight>
              </a:defRPr>
            </a:lvl1pPr>
          </a:lstStyle>
          <a:p>
            <a:r>
              <a:rPr lang="en-US"/>
              <a:t>Click to add an SVG icon. USE WHITE ICONS</a:t>
            </a:r>
          </a:p>
        </p:txBody>
      </p:sp>
    </p:spTree>
    <p:extLst>
      <p:ext uri="{BB962C8B-B14F-4D97-AF65-F5344CB8AC3E}">
        <p14:creationId xmlns:p14="http://schemas.microsoft.com/office/powerpoint/2010/main" val="317963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p:txBody>
          <a:bodyPr/>
          <a:lstStyle/>
          <a:p>
            <a:r>
              <a:rPr lang="en-US"/>
              <a:t>Three columns layout with icon: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50653120-4A2A-1A43-BD62-1E1C032510AE}"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3" name="Rectangle 2">
            <a:extLst>
              <a:ext uri="{FF2B5EF4-FFF2-40B4-BE49-F238E27FC236}">
                <a16:creationId xmlns:a16="http://schemas.microsoft.com/office/drawing/2014/main" id="{FE58FEF0-D15D-C783-3915-C2BB1A639F5F}"/>
              </a:ext>
            </a:extLst>
          </p:cNvPr>
          <p:cNvSpPr/>
          <p:nvPr userDrawn="1"/>
        </p:nvSpPr>
        <p:spPr>
          <a:xfrm>
            <a:off x="9593263" y="0"/>
            <a:ext cx="2036202" cy="1714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9">
            <a:extLst>
              <a:ext uri="{FF2B5EF4-FFF2-40B4-BE49-F238E27FC236}">
                <a16:creationId xmlns:a16="http://schemas.microsoft.com/office/drawing/2014/main" id="{F53634DE-3DCF-89D7-D1DA-238A3F706EFD}"/>
              </a:ext>
            </a:extLst>
          </p:cNvPr>
          <p:cNvSpPr>
            <a:spLocks noGrp="1" noChangeAspect="1"/>
          </p:cNvSpPr>
          <p:nvPr>
            <p:ph type="pic" sz="quarter" idx="15" hasCustomPrompt="1"/>
          </p:nvPr>
        </p:nvSpPr>
        <p:spPr>
          <a:xfrm>
            <a:off x="10086077" y="334948"/>
            <a:ext cx="1050573" cy="1044604"/>
          </a:xfrm>
          <a:noFill/>
        </p:spPr>
        <p:txBody>
          <a:bodyPr anchor="ctr">
            <a:noAutofit/>
          </a:bodyPr>
          <a:lstStyle>
            <a:lvl1pPr algn="ctr">
              <a:defRPr sz="1000" b="1">
                <a:solidFill>
                  <a:schemeClr val="tx1"/>
                </a:solidFill>
                <a:highlight>
                  <a:srgbClr val="FFFF00"/>
                </a:highlight>
              </a:defRPr>
            </a:lvl1pPr>
          </a:lstStyle>
          <a:p>
            <a:r>
              <a:rPr lang="en-US"/>
              <a:t>Click to add an SVG icon. USE WHITE ICONS</a:t>
            </a:r>
          </a:p>
        </p:txBody>
      </p:sp>
      <p:sp>
        <p:nvSpPr>
          <p:cNvPr id="4" name="Text Placeholder 10">
            <a:extLst>
              <a:ext uri="{FF2B5EF4-FFF2-40B4-BE49-F238E27FC236}">
                <a16:creationId xmlns:a16="http://schemas.microsoft.com/office/drawing/2014/main" id="{707EE6F7-7C4E-DA99-A2D1-43FD020897A3}"/>
              </a:ext>
            </a:extLst>
          </p:cNvPr>
          <p:cNvSpPr>
            <a:spLocks noGrp="1"/>
          </p:cNvSpPr>
          <p:nvPr>
            <p:ph type="body" sz="quarter" idx="14"/>
          </p:nvPr>
        </p:nvSpPr>
        <p:spPr>
          <a:xfrm>
            <a:off x="571500" y="1943100"/>
            <a:ext cx="3154363" cy="3771900"/>
          </a:xfrm>
        </p:spPr>
        <p:txBody>
          <a:bodyPr>
            <a:noAutofit/>
          </a:bodyPr>
          <a:lstStyle>
            <a:lvl1pPr>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0">
            <a:extLst>
              <a:ext uri="{FF2B5EF4-FFF2-40B4-BE49-F238E27FC236}">
                <a16:creationId xmlns:a16="http://schemas.microsoft.com/office/drawing/2014/main" id="{6E5EF916-DFCD-66BC-D5E9-2CBA2FA5C961}"/>
              </a:ext>
            </a:extLst>
          </p:cNvPr>
          <p:cNvSpPr>
            <a:spLocks noGrp="1"/>
          </p:cNvSpPr>
          <p:nvPr>
            <p:ph type="body" sz="quarter" idx="16"/>
          </p:nvPr>
        </p:nvSpPr>
        <p:spPr>
          <a:xfrm>
            <a:off x="3954780" y="1943100"/>
            <a:ext cx="3154363" cy="3771900"/>
          </a:xfrm>
        </p:spPr>
        <p:txBody>
          <a:bodyPr>
            <a:noAutofit/>
          </a:bodyPr>
          <a:lstStyle>
            <a:lvl1pPr>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1CD85157-A068-4CCC-5FD9-BFCE0F2C4FD2}"/>
              </a:ext>
            </a:extLst>
          </p:cNvPr>
          <p:cNvSpPr>
            <a:spLocks noGrp="1"/>
          </p:cNvSpPr>
          <p:nvPr>
            <p:ph type="body" sz="quarter" idx="17"/>
          </p:nvPr>
        </p:nvSpPr>
        <p:spPr>
          <a:xfrm>
            <a:off x="7338060" y="1943100"/>
            <a:ext cx="3154363" cy="3771900"/>
          </a:xfrm>
        </p:spPr>
        <p:txBody>
          <a:bodyPr>
            <a:noAutofit/>
          </a:bodyPr>
          <a:lstStyle>
            <a:lvl1pPr>
              <a:defRPr sz="20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6597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734F0-F0E5-928E-BC2C-BA9365145108}"/>
              </a:ext>
            </a:extLst>
          </p:cNvPr>
          <p:cNvSpPr>
            <a:spLocks noGrp="1"/>
          </p:cNvSpPr>
          <p:nvPr>
            <p:ph type="title" hasCustomPrompt="1"/>
          </p:nvPr>
        </p:nvSpPr>
        <p:spPr>
          <a:xfrm>
            <a:off x="588892" y="1143000"/>
            <a:ext cx="8775771" cy="1371600"/>
          </a:xfrm>
        </p:spPr>
        <p:txBody>
          <a:bodyPr anchor="b"/>
          <a:lstStyle/>
          <a:p>
            <a:r>
              <a:rPr lang="en-US"/>
              <a:t>Simple Title and Subtitle/Text layout: click to edit title</a:t>
            </a:r>
          </a:p>
        </p:txBody>
      </p:sp>
      <p:sp>
        <p:nvSpPr>
          <p:cNvPr id="3" name="Date Placeholder 2">
            <a:extLst>
              <a:ext uri="{FF2B5EF4-FFF2-40B4-BE49-F238E27FC236}">
                <a16:creationId xmlns:a16="http://schemas.microsoft.com/office/drawing/2014/main" id="{F403A090-8C3B-26C8-F6C8-F63887C2CEDF}"/>
              </a:ext>
            </a:extLst>
          </p:cNvPr>
          <p:cNvSpPr>
            <a:spLocks noGrp="1"/>
          </p:cNvSpPr>
          <p:nvPr>
            <p:ph type="dt" sz="half" idx="10"/>
          </p:nvPr>
        </p:nvSpPr>
        <p:spPr/>
        <p:txBody>
          <a:bodyPr/>
          <a:lstStyle/>
          <a:p>
            <a:fld id="{924556D1-7C54-AB4F-83BF-B70162D1544B}" type="datetime1">
              <a:rPr lang="en-US" smtClean="0"/>
              <a:t>11/28/2023</a:t>
            </a:fld>
            <a:endParaRPr lang="en-US"/>
          </a:p>
        </p:txBody>
      </p:sp>
      <p:sp>
        <p:nvSpPr>
          <p:cNvPr id="4" name="Footer Placeholder 3">
            <a:extLst>
              <a:ext uri="{FF2B5EF4-FFF2-40B4-BE49-F238E27FC236}">
                <a16:creationId xmlns:a16="http://schemas.microsoft.com/office/drawing/2014/main" id="{7D5844FB-00B9-9739-A9B8-AA8016F0D493}"/>
              </a:ext>
            </a:extLst>
          </p:cNvPr>
          <p:cNvSpPr>
            <a:spLocks noGrp="1"/>
          </p:cNvSpPr>
          <p:nvPr>
            <p:ph type="ftr" sz="quarter" idx="11"/>
          </p:nvPr>
        </p:nvSpPr>
        <p:spPr/>
        <p:txBody>
          <a:bodyPr/>
          <a:lstStyle/>
          <a:p>
            <a:r>
              <a:rPr lang="en-US"/>
              <a:t>How to use this template</a:t>
            </a:r>
          </a:p>
        </p:txBody>
      </p:sp>
      <p:sp>
        <p:nvSpPr>
          <p:cNvPr id="5" name="Slide Number Placeholder 4">
            <a:extLst>
              <a:ext uri="{FF2B5EF4-FFF2-40B4-BE49-F238E27FC236}">
                <a16:creationId xmlns:a16="http://schemas.microsoft.com/office/drawing/2014/main" id="{C61C875D-914C-AADD-16ED-76D323895747}"/>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7" name="Text Placeholder 6">
            <a:extLst>
              <a:ext uri="{FF2B5EF4-FFF2-40B4-BE49-F238E27FC236}">
                <a16:creationId xmlns:a16="http://schemas.microsoft.com/office/drawing/2014/main" id="{5C817326-42DC-8330-34F1-A4D4977FF059}"/>
              </a:ext>
            </a:extLst>
          </p:cNvPr>
          <p:cNvSpPr>
            <a:spLocks noGrp="1"/>
          </p:cNvSpPr>
          <p:nvPr>
            <p:ph type="body" sz="quarter" idx="13" hasCustomPrompt="1"/>
          </p:nvPr>
        </p:nvSpPr>
        <p:spPr>
          <a:xfrm>
            <a:off x="588963" y="2519172"/>
            <a:ext cx="8775700" cy="1600200"/>
          </a:xfrm>
        </p:spPr>
        <p:txBody>
          <a:bodyPr/>
          <a:lstStyle/>
          <a:p>
            <a:pPr lvl="0"/>
            <a:r>
              <a:rPr lang="en-US"/>
              <a:t>Click to edit subtitle/text</a:t>
            </a:r>
          </a:p>
        </p:txBody>
      </p:sp>
      <p:sp>
        <p:nvSpPr>
          <p:cNvPr id="8" name="Rectangle 7">
            <a:extLst>
              <a:ext uri="{FF2B5EF4-FFF2-40B4-BE49-F238E27FC236}">
                <a16:creationId xmlns:a16="http://schemas.microsoft.com/office/drawing/2014/main" id="{96772BCF-5A3D-03E3-A94B-BBB9D8113D2F}"/>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145051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C406F05-2F7E-AC94-7656-6071EAD92110}"/>
              </a:ext>
            </a:extLst>
          </p:cNvPr>
          <p:cNvSpPr>
            <a:spLocks noGrp="1"/>
          </p:cNvSpPr>
          <p:nvPr>
            <p:ph type="dt" sz="half" idx="10"/>
          </p:nvPr>
        </p:nvSpPr>
        <p:spPr/>
        <p:txBody>
          <a:bodyPr/>
          <a:lstStyle/>
          <a:p>
            <a:fld id="{890E781C-2074-6445-A685-0F1CE244DB43}" type="datetime1">
              <a:rPr lang="en-US" smtClean="0"/>
              <a:t>11/28/2023</a:t>
            </a:fld>
            <a:endParaRPr lang="en-US"/>
          </a:p>
        </p:txBody>
      </p:sp>
      <p:sp>
        <p:nvSpPr>
          <p:cNvPr id="5" name="Footer Placeholder 4">
            <a:extLst>
              <a:ext uri="{FF2B5EF4-FFF2-40B4-BE49-F238E27FC236}">
                <a16:creationId xmlns:a16="http://schemas.microsoft.com/office/drawing/2014/main" id="{06976099-91CE-0A2E-A0BE-04F37180931D}"/>
              </a:ext>
            </a:extLst>
          </p:cNvPr>
          <p:cNvSpPr>
            <a:spLocks noGrp="1"/>
          </p:cNvSpPr>
          <p:nvPr>
            <p:ph type="ftr" sz="quarter" idx="11"/>
          </p:nvPr>
        </p:nvSpPr>
        <p:spPr/>
        <p:txBody>
          <a:bodyPr/>
          <a:lstStyle/>
          <a:p>
            <a:r>
              <a:rPr lang="en-US"/>
              <a:t>How to use this template</a:t>
            </a:r>
          </a:p>
        </p:txBody>
      </p:sp>
      <p:sp>
        <p:nvSpPr>
          <p:cNvPr id="6" name="Slide Number Placeholder 5">
            <a:extLst>
              <a:ext uri="{FF2B5EF4-FFF2-40B4-BE49-F238E27FC236}">
                <a16:creationId xmlns:a16="http://schemas.microsoft.com/office/drawing/2014/main" id="{D5BA5522-16B3-8D22-8F5D-1395693EEFF6}"/>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16" name="Rectangle 15">
            <a:extLst>
              <a:ext uri="{FF2B5EF4-FFF2-40B4-BE49-F238E27FC236}">
                <a16:creationId xmlns:a16="http://schemas.microsoft.com/office/drawing/2014/main" id="{4F3223C7-4381-F8B8-5026-B60EDF88D427}"/>
              </a:ext>
            </a:extLst>
          </p:cNvPr>
          <p:cNvSpPr/>
          <p:nvPr userDrawn="1"/>
        </p:nvSpPr>
        <p:spPr>
          <a:xfrm>
            <a:off x="588892" y="5943600"/>
            <a:ext cx="11031608" cy="941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2A215B66-AE59-3EA6-C885-4E20B598946B}"/>
              </a:ext>
            </a:extLst>
          </p:cNvPr>
          <p:cNvSpPr>
            <a:spLocks noGrp="1"/>
          </p:cNvSpPr>
          <p:nvPr>
            <p:ph type="body" sz="quarter" idx="13" hasCustomPrompt="1"/>
          </p:nvPr>
        </p:nvSpPr>
        <p:spPr>
          <a:xfrm>
            <a:off x="1470025" y="342900"/>
            <a:ext cx="9021763" cy="3771900"/>
          </a:xfrm>
        </p:spPr>
        <p:txBody>
          <a:bodyPr anchor="b">
            <a:noAutofit/>
          </a:bodyPr>
          <a:lstStyle>
            <a:lvl1pPr marL="173038" indent="-106363">
              <a:lnSpc>
                <a:spcPct val="110000"/>
              </a:lnSpc>
              <a:tabLst/>
              <a:defRPr/>
            </a:lvl1pPr>
          </a:lstStyle>
          <a:p>
            <a:pPr lvl="0"/>
            <a:r>
              <a:rPr lang="en-US"/>
              <a:t>“Quote slide: click to edit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null.”</a:t>
            </a:r>
          </a:p>
        </p:txBody>
      </p:sp>
      <p:sp>
        <p:nvSpPr>
          <p:cNvPr id="10" name="Text Placeholder 6">
            <a:extLst>
              <a:ext uri="{FF2B5EF4-FFF2-40B4-BE49-F238E27FC236}">
                <a16:creationId xmlns:a16="http://schemas.microsoft.com/office/drawing/2014/main" id="{305239D6-CB41-9FB1-0EC4-354B9935A76A}"/>
              </a:ext>
            </a:extLst>
          </p:cNvPr>
          <p:cNvSpPr>
            <a:spLocks noGrp="1"/>
          </p:cNvSpPr>
          <p:nvPr>
            <p:ph type="body" sz="quarter" idx="14" hasCustomPrompt="1"/>
          </p:nvPr>
        </p:nvSpPr>
        <p:spPr>
          <a:xfrm>
            <a:off x="1698625" y="4343401"/>
            <a:ext cx="8793163" cy="571499"/>
          </a:xfrm>
        </p:spPr>
        <p:txBody>
          <a:bodyPr anchor="b">
            <a:noAutofit/>
          </a:bodyPr>
          <a:lstStyle>
            <a:lvl1pPr>
              <a:defRPr sz="2000" b="1"/>
            </a:lvl1pPr>
          </a:lstStyle>
          <a:p>
            <a:pPr lvl="0"/>
            <a:r>
              <a:rPr lang="en-US"/>
              <a:t>First Last Name</a:t>
            </a:r>
          </a:p>
        </p:txBody>
      </p:sp>
      <p:sp>
        <p:nvSpPr>
          <p:cNvPr id="11" name="Text Placeholder 6">
            <a:extLst>
              <a:ext uri="{FF2B5EF4-FFF2-40B4-BE49-F238E27FC236}">
                <a16:creationId xmlns:a16="http://schemas.microsoft.com/office/drawing/2014/main" id="{68DC5026-233C-CDED-81DF-0A6840AD01D7}"/>
              </a:ext>
            </a:extLst>
          </p:cNvPr>
          <p:cNvSpPr>
            <a:spLocks noGrp="1"/>
          </p:cNvSpPr>
          <p:nvPr>
            <p:ph type="body" sz="quarter" idx="15" hasCustomPrompt="1"/>
          </p:nvPr>
        </p:nvSpPr>
        <p:spPr>
          <a:xfrm>
            <a:off x="1698625" y="4948518"/>
            <a:ext cx="8793163" cy="571499"/>
          </a:xfrm>
        </p:spPr>
        <p:txBody>
          <a:bodyPr>
            <a:noAutofit/>
          </a:bodyPr>
          <a:lstStyle>
            <a:lvl1pPr>
              <a:defRPr sz="2000">
                <a:solidFill>
                  <a:schemeClr val="tx1">
                    <a:lumMod val="75000"/>
                    <a:lumOff val="25000"/>
                  </a:schemeClr>
                </a:solidFill>
              </a:defRPr>
            </a:lvl1pPr>
          </a:lstStyle>
          <a:p>
            <a:pPr lvl="0"/>
            <a:r>
              <a:rPr lang="en-US"/>
              <a:t>Job Title</a:t>
            </a:r>
          </a:p>
        </p:txBody>
      </p:sp>
    </p:spTree>
    <p:extLst>
      <p:ext uri="{BB962C8B-B14F-4D97-AF65-F5344CB8AC3E}">
        <p14:creationId xmlns:p14="http://schemas.microsoft.com/office/powerpoint/2010/main" val="40045512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ith Caption2">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F55E616-0A95-172D-8E19-0B7E802A2E6E}"/>
              </a:ext>
            </a:extLst>
          </p:cNvPr>
          <p:cNvSpPr>
            <a:spLocks noGrp="1"/>
          </p:cNvSpPr>
          <p:nvPr>
            <p:ph type="dt" sz="half" idx="10"/>
          </p:nvPr>
        </p:nvSpPr>
        <p:spPr/>
        <p:txBody>
          <a:bodyPr/>
          <a:lstStyle/>
          <a:p>
            <a:fld id="{24D634C5-CEC9-3D4D-9B8E-931CFE314B10}" type="datetime1">
              <a:rPr lang="en-US" smtClean="0"/>
              <a:t>11/28/2023</a:t>
            </a:fld>
            <a:endParaRPr lang="en-US"/>
          </a:p>
        </p:txBody>
      </p:sp>
      <p:sp>
        <p:nvSpPr>
          <p:cNvPr id="6" name="Footer Placeholder 5">
            <a:extLst>
              <a:ext uri="{FF2B5EF4-FFF2-40B4-BE49-F238E27FC236}">
                <a16:creationId xmlns:a16="http://schemas.microsoft.com/office/drawing/2014/main" id="{31581F8A-6E6D-F3B0-41BC-429A3770F6C4}"/>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FDA53C3-B1DA-5472-4C11-E6F396DE344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8" name="Picture Placeholder 19">
            <a:extLst>
              <a:ext uri="{FF2B5EF4-FFF2-40B4-BE49-F238E27FC236}">
                <a16:creationId xmlns:a16="http://schemas.microsoft.com/office/drawing/2014/main" id="{241AFEEA-07CB-1571-55B9-F824387FF761}"/>
              </a:ext>
            </a:extLst>
          </p:cNvPr>
          <p:cNvSpPr>
            <a:spLocks noGrp="1"/>
          </p:cNvSpPr>
          <p:nvPr>
            <p:ph type="pic" sz="quarter" idx="13" hasCustomPrompt="1"/>
          </p:nvPr>
        </p:nvSpPr>
        <p:spPr>
          <a:xfrm>
            <a:off x="571500" y="1143000"/>
            <a:ext cx="6515100" cy="4572000"/>
          </a:xfrm>
          <a:pattFill prst="pct20">
            <a:fgClr>
              <a:schemeClr val="accent1"/>
            </a:fgClr>
            <a:bgClr>
              <a:schemeClr val="bg1"/>
            </a:bgClr>
          </a:pattFill>
        </p:spPr>
        <p:txBody>
          <a:bodyPr anchor="ctr"/>
          <a:lstStyle>
            <a:lvl1pPr algn="ctr">
              <a:defRPr/>
            </a:lvl1pPr>
          </a:lstStyle>
          <a:p>
            <a:r>
              <a:rPr lang="en-US"/>
              <a:t>Click to add a picture</a:t>
            </a:r>
          </a:p>
        </p:txBody>
      </p:sp>
      <p:sp>
        <p:nvSpPr>
          <p:cNvPr id="9" name="Title 1">
            <a:extLst>
              <a:ext uri="{FF2B5EF4-FFF2-40B4-BE49-F238E27FC236}">
                <a16:creationId xmlns:a16="http://schemas.microsoft.com/office/drawing/2014/main" id="{F816EF77-474B-DB36-F877-32640129832B}"/>
              </a:ext>
            </a:extLst>
          </p:cNvPr>
          <p:cNvSpPr>
            <a:spLocks noGrp="1"/>
          </p:cNvSpPr>
          <p:nvPr>
            <p:ph type="title" hasCustomPrompt="1"/>
          </p:nvPr>
        </p:nvSpPr>
        <p:spPr>
          <a:xfrm>
            <a:off x="7362824" y="1143000"/>
            <a:ext cx="4256089" cy="1600200"/>
          </a:xfrm>
        </p:spPr>
        <p:txBody>
          <a:bodyPr anchor="b">
            <a:noAutofit/>
          </a:bodyPr>
          <a:lstStyle>
            <a:lvl1pPr>
              <a:defRPr sz="3200"/>
            </a:lvl1pPr>
          </a:lstStyle>
          <a:p>
            <a:r>
              <a:rPr lang="en-US"/>
              <a:t>Picture left: click to edit title</a:t>
            </a:r>
          </a:p>
        </p:txBody>
      </p:sp>
      <p:sp>
        <p:nvSpPr>
          <p:cNvPr id="10" name="Text Placeholder 3">
            <a:extLst>
              <a:ext uri="{FF2B5EF4-FFF2-40B4-BE49-F238E27FC236}">
                <a16:creationId xmlns:a16="http://schemas.microsoft.com/office/drawing/2014/main" id="{5951B8C9-56A8-AFC9-D185-B2887B96E731}"/>
              </a:ext>
            </a:extLst>
          </p:cNvPr>
          <p:cNvSpPr>
            <a:spLocks noGrp="1"/>
          </p:cNvSpPr>
          <p:nvPr>
            <p:ph type="body" sz="half" idx="2" hasCustomPrompt="1"/>
          </p:nvPr>
        </p:nvSpPr>
        <p:spPr>
          <a:xfrm>
            <a:off x="7337425" y="2743200"/>
            <a:ext cx="4281488" cy="2971800"/>
          </a:xfrm>
        </p:spPr>
        <p:txBody>
          <a:bodyPr>
            <a:no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a:t>
            </a:r>
          </a:p>
        </p:txBody>
      </p:sp>
      <p:sp>
        <p:nvSpPr>
          <p:cNvPr id="11" name="Rectangle 10">
            <a:extLst>
              <a:ext uri="{FF2B5EF4-FFF2-40B4-BE49-F238E27FC236}">
                <a16:creationId xmlns:a16="http://schemas.microsoft.com/office/drawing/2014/main" id="{3C235837-C740-B6CA-6E8C-DD91647AF6FD}"/>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1224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F55E616-0A95-172D-8E19-0B7E802A2E6E}"/>
              </a:ext>
            </a:extLst>
          </p:cNvPr>
          <p:cNvSpPr>
            <a:spLocks noGrp="1"/>
          </p:cNvSpPr>
          <p:nvPr>
            <p:ph type="dt" sz="half" idx="10"/>
          </p:nvPr>
        </p:nvSpPr>
        <p:spPr/>
        <p:txBody>
          <a:bodyPr/>
          <a:lstStyle/>
          <a:p>
            <a:fld id="{64700C7E-C105-194E-A481-D567216411CA}" type="datetime1">
              <a:rPr lang="en-US" smtClean="0"/>
              <a:t>11/28/2023</a:t>
            </a:fld>
            <a:endParaRPr lang="en-US"/>
          </a:p>
        </p:txBody>
      </p:sp>
      <p:sp>
        <p:nvSpPr>
          <p:cNvPr id="6" name="Footer Placeholder 5">
            <a:extLst>
              <a:ext uri="{FF2B5EF4-FFF2-40B4-BE49-F238E27FC236}">
                <a16:creationId xmlns:a16="http://schemas.microsoft.com/office/drawing/2014/main" id="{31581F8A-6E6D-F3B0-41BC-429A3770F6C4}"/>
              </a:ext>
            </a:extLst>
          </p:cNvPr>
          <p:cNvSpPr>
            <a:spLocks noGrp="1"/>
          </p:cNvSpPr>
          <p:nvPr>
            <p:ph type="ftr" sz="quarter" idx="11"/>
          </p:nvPr>
        </p:nvSpPr>
        <p:spPr>
          <a:xfrm>
            <a:off x="7337424" y="5967207"/>
            <a:ext cx="4283075" cy="547894"/>
          </a:xfrm>
        </p:spPr>
        <p:txBody>
          <a:bodyPr/>
          <a:lstStyle>
            <a:lvl1pPr algn="r">
              <a:defRPr/>
            </a:lvl1pPr>
          </a:lstStyle>
          <a:p>
            <a:r>
              <a:rPr lang="en-US"/>
              <a:t>How to use this template</a:t>
            </a:r>
          </a:p>
        </p:txBody>
      </p:sp>
      <p:sp>
        <p:nvSpPr>
          <p:cNvPr id="7" name="Slide Number Placeholder 6">
            <a:extLst>
              <a:ext uri="{FF2B5EF4-FFF2-40B4-BE49-F238E27FC236}">
                <a16:creationId xmlns:a16="http://schemas.microsoft.com/office/drawing/2014/main" id="{DFDA53C3-B1DA-5472-4C11-E6F396DE3440}"/>
              </a:ext>
            </a:extLst>
          </p:cNvPr>
          <p:cNvSpPr>
            <a:spLocks noGrp="1"/>
          </p:cNvSpPr>
          <p:nvPr>
            <p:ph type="sldNum" sz="quarter" idx="12"/>
          </p:nvPr>
        </p:nvSpPr>
        <p:spPr>
          <a:xfrm>
            <a:off x="5081588" y="5967207"/>
            <a:ext cx="2005012" cy="547894"/>
          </a:xfrm>
        </p:spPr>
        <p:txBody>
          <a:bodyPr/>
          <a:lstStyle>
            <a:lvl1pPr algn="ctr">
              <a:defRPr/>
            </a:lvl1pPr>
          </a:lstStyle>
          <a:p>
            <a:fld id="{3AEF997A-A681-BA4B-BE23-60D9BF002CFB}" type="slidenum">
              <a:rPr lang="en-US" smtClean="0"/>
              <a:pPr/>
              <a:t>‹#›</a:t>
            </a:fld>
            <a:endParaRPr lang="en-US"/>
          </a:p>
        </p:txBody>
      </p:sp>
      <p:sp>
        <p:nvSpPr>
          <p:cNvPr id="8" name="Picture Placeholder 19">
            <a:extLst>
              <a:ext uri="{FF2B5EF4-FFF2-40B4-BE49-F238E27FC236}">
                <a16:creationId xmlns:a16="http://schemas.microsoft.com/office/drawing/2014/main" id="{241AFEEA-07CB-1571-55B9-F824387FF761}"/>
              </a:ext>
            </a:extLst>
          </p:cNvPr>
          <p:cNvSpPr>
            <a:spLocks noGrp="1"/>
          </p:cNvSpPr>
          <p:nvPr>
            <p:ph type="pic" sz="quarter" idx="13" hasCustomPrompt="1"/>
          </p:nvPr>
        </p:nvSpPr>
        <p:spPr>
          <a:xfrm>
            <a:off x="5081588" y="1143000"/>
            <a:ext cx="6538912" cy="4572000"/>
          </a:xfrm>
          <a:pattFill prst="pct20">
            <a:fgClr>
              <a:schemeClr val="accent1"/>
            </a:fgClr>
            <a:bgClr>
              <a:schemeClr val="bg1"/>
            </a:bgClr>
          </a:pattFill>
        </p:spPr>
        <p:txBody>
          <a:bodyPr anchor="ctr"/>
          <a:lstStyle>
            <a:lvl1pPr algn="ctr">
              <a:defRPr/>
            </a:lvl1pPr>
          </a:lstStyle>
          <a:p>
            <a:r>
              <a:rPr lang="en-US"/>
              <a:t>Click to add a picture</a:t>
            </a:r>
          </a:p>
        </p:txBody>
      </p:sp>
      <p:sp>
        <p:nvSpPr>
          <p:cNvPr id="9" name="Title 1">
            <a:extLst>
              <a:ext uri="{FF2B5EF4-FFF2-40B4-BE49-F238E27FC236}">
                <a16:creationId xmlns:a16="http://schemas.microsoft.com/office/drawing/2014/main" id="{F816EF77-474B-DB36-F877-32640129832B}"/>
              </a:ext>
            </a:extLst>
          </p:cNvPr>
          <p:cNvSpPr>
            <a:spLocks noGrp="1"/>
          </p:cNvSpPr>
          <p:nvPr>
            <p:ph type="title" hasCustomPrompt="1"/>
          </p:nvPr>
        </p:nvSpPr>
        <p:spPr>
          <a:xfrm>
            <a:off x="571500" y="1143000"/>
            <a:ext cx="4281488" cy="1600200"/>
          </a:xfrm>
        </p:spPr>
        <p:txBody>
          <a:bodyPr anchor="b">
            <a:noAutofit/>
          </a:bodyPr>
          <a:lstStyle>
            <a:lvl1pPr>
              <a:defRPr sz="3200"/>
            </a:lvl1pPr>
          </a:lstStyle>
          <a:p>
            <a:r>
              <a:rPr lang="en-US"/>
              <a:t>Picture right: click to edit title</a:t>
            </a:r>
          </a:p>
        </p:txBody>
      </p:sp>
      <p:sp>
        <p:nvSpPr>
          <p:cNvPr id="10" name="Text Placeholder 3">
            <a:extLst>
              <a:ext uri="{FF2B5EF4-FFF2-40B4-BE49-F238E27FC236}">
                <a16:creationId xmlns:a16="http://schemas.microsoft.com/office/drawing/2014/main" id="{5951B8C9-56A8-AFC9-D185-B2887B96E731}"/>
              </a:ext>
            </a:extLst>
          </p:cNvPr>
          <p:cNvSpPr>
            <a:spLocks noGrp="1"/>
          </p:cNvSpPr>
          <p:nvPr>
            <p:ph type="body" sz="half" idx="2" hasCustomPrompt="1"/>
          </p:nvPr>
        </p:nvSpPr>
        <p:spPr>
          <a:xfrm>
            <a:off x="588892" y="2743200"/>
            <a:ext cx="4281488" cy="2971800"/>
          </a:xfrm>
        </p:spPr>
        <p:txBody>
          <a:bodyPr>
            <a:no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a:t>
            </a:r>
          </a:p>
        </p:txBody>
      </p:sp>
      <p:sp>
        <p:nvSpPr>
          <p:cNvPr id="11" name="Rectangle 10">
            <a:extLst>
              <a:ext uri="{FF2B5EF4-FFF2-40B4-BE49-F238E27FC236}">
                <a16:creationId xmlns:a16="http://schemas.microsoft.com/office/drawing/2014/main" id="{3C235837-C740-B6CA-6E8C-DD91647AF6FD}"/>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07388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D779D-B1AF-41FB-8DC3-8A054CB9D1D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EB5D0B-F989-473B-A4A6-5FAC55B9232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A35947-BD81-4192-9D64-4C21EB384B1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D3584CA-3714-455D-A3CA-D75BB40CD148}"/>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6" name="Footer Placeholder 5">
            <a:extLst>
              <a:ext uri="{FF2B5EF4-FFF2-40B4-BE49-F238E27FC236}">
                <a16:creationId xmlns:a16="http://schemas.microsoft.com/office/drawing/2014/main" id="{86DA00D0-1704-4E75-A9B7-A7B79A0B1B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F2CF52-148A-4C43-8039-C048C0793422}"/>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39137419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a:xfrm>
            <a:off x="588892" y="914400"/>
            <a:ext cx="3136971" cy="2400300"/>
          </a:xfrm>
        </p:spPr>
        <p:txBody>
          <a:bodyPr anchor="t"/>
          <a:lstStyle/>
          <a:p>
            <a:r>
              <a:rPr lang="en-US"/>
              <a:t>Two pictures layout: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BE0D6081-DA53-9A41-95EA-9DF36847FC0F}"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Rectangle 8">
            <a:extLst>
              <a:ext uri="{FF2B5EF4-FFF2-40B4-BE49-F238E27FC236}">
                <a16:creationId xmlns:a16="http://schemas.microsoft.com/office/drawing/2014/main" id="{877B44EB-EEC2-A738-CAC4-6D457D8E7173}"/>
              </a:ext>
            </a:extLst>
          </p:cNvPr>
          <p:cNvSpPr/>
          <p:nvPr userDrawn="1"/>
        </p:nvSpPr>
        <p:spPr>
          <a:xfrm>
            <a:off x="580196"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icture Placeholder 19">
            <a:extLst>
              <a:ext uri="{FF2B5EF4-FFF2-40B4-BE49-F238E27FC236}">
                <a16:creationId xmlns:a16="http://schemas.microsoft.com/office/drawing/2014/main" id="{494779D4-683D-10A1-C78E-B175977898ED}"/>
              </a:ext>
            </a:extLst>
          </p:cNvPr>
          <p:cNvSpPr>
            <a:spLocks noGrp="1"/>
          </p:cNvSpPr>
          <p:nvPr>
            <p:ph type="pic" sz="quarter" idx="13" hasCustomPrompt="1"/>
          </p:nvPr>
        </p:nvSpPr>
        <p:spPr>
          <a:xfrm>
            <a:off x="3954463" y="914400"/>
            <a:ext cx="3696404" cy="3200399"/>
          </a:xfrm>
          <a:pattFill prst="pct20">
            <a:fgClr>
              <a:schemeClr val="accent1"/>
            </a:fgClr>
            <a:bgClr>
              <a:schemeClr val="bg1"/>
            </a:bgClr>
          </a:pattFill>
        </p:spPr>
        <p:txBody>
          <a:bodyPr anchor="ctr"/>
          <a:lstStyle>
            <a:lvl1pPr algn="ctr">
              <a:defRPr/>
            </a:lvl1pPr>
          </a:lstStyle>
          <a:p>
            <a:r>
              <a:rPr lang="en-US"/>
              <a:t>Click to add a Picture</a:t>
            </a:r>
          </a:p>
        </p:txBody>
      </p:sp>
      <p:sp>
        <p:nvSpPr>
          <p:cNvPr id="22" name="Text Placeholder 10">
            <a:extLst>
              <a:ext uri="{FF2B5EF4-FFF2-40B4-BE49-F238E27FC236}">
                <a16:creationId xmlns:a16="http://schemas.microsoft.com/office/drawing/2014/main" id="{EB215792-AB51-3D2C-AE83-FBB4D723E604}"/>
              </a:ext>
            </a:extLst>
          </p:cNvPr>
          <p:cNvSpPr>
            <a:spLocks noGrp="1"/>
          </p:cNvSpPr>
          <p:nvPr>
            <p:ph type="body" sz="quarter" idx="15" hasCustomPrompt="1"/>
          </p:nvPr>
        </p:nvSpPr>
        <p:spPr>
          <a:xfrm>
            <a:off x="3954463" y="4343400"/>
            <a:ext cx="3696404" cy="1380281"/>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4" name="Picture Placeholder 19">
            <a:extLst>
              <a:ext uri="{FF2B5EF4-FFF2-40B4-BE49-F238E27FC236}">
                <a16:creationId xmlns:a16="http://schemas.microsoft.com/office/drawing/2014/main" id="{5B6E8969-8EFE-3B31-BACC-FEB4CACEE229}"/>
              </a:ext>
            </a:extLst>
          </p:cNvPr>
          <p:cNvSpPr>
            <a:spLocks noGrp="1"/>
          </p:cNvSpPr>
          <p:nvPr>
            <p:ph type="pic" sz="quarter" idx="16" hasCustomPrompt="1"/>
          </p:nvPr>
        </p:nvSpPr>
        <p:spPr>
          <a:xfrm>
            <a:off x="7924579" y="914400"/>
            <a:ext cx="3696404" cy="3200399"/>
          </a:xfrm>
          <a:pattFill prst="pct20">
            <a:fgClr>
              <a:schemeClr val="accent1"/>
            </a:fgClr>
            <a:bgClr>
              <a:schemeClr val="bg1"/>
            </a:bgClr>
          </a:pattFill>
        </p:spPr>
        <p:txBody>
          <a:bodyPr anchor="ctr"/>
          <a:lstStyle>
            <a:lvl1pPr algn="ctr">
              <a:defRPr/>
            </a:lvl1pPr>
          </a:lstStyle>
          <a:p>
            <a:r>
              <a:rPr lang="en-US"/>
              <a:t>Click to add a Picture</a:t>
            </a:r>
          </a:p>
        </p:txBody>
      </p:sp>
      <p:sp>
        <p:nvSpPr>
          <p:cNvPr id="12" name="Text Placeholder 10">
            <a:extLst>
              <a:ext uri="{FF2B5EF4-FFF2-40B4-BE49-F238E27FC236}">
                <a16:creationId xmlns:a16="http://schemas.microsoft.com/office/drawing/2014/main" id="{E4CF36A4-0B59-9A13-8A4D-95A3AEF55CAD}"/>
              </a:ext>
            </a:extLst>
          </p:cNvPr>
          <p:cNvSpPr>
            <a:spLocks noGrp="1"/>
          </p:cNvSpPr>
          <p:nvPr>
            <p:ph type="body" sz="quarter" idx="17" hasCustomPrompt="1"/>
          </p:nvPr>
        </p:nvSpPr>
        <p:spPr>
          <a:xfrm>
            <a:off x="7925724" y="4343400"/>
            <a:ext cx="3696404" cy="1380281"/>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13" name="Text Placeholder 10">
            <a:extLst>
              <a:ext uri="{FF2B5EF4-FFF2-40B4-BE49-F238E27FC236}">
                <a16:creationId xmlns:a16="http://schemas.microsoft.com/office/drawing/2014/main" id="{4F41672A-CF62-388D-CB5E-202AED29E877}"/>
              </a:ext>
            </a:extLst>
          </p:cNvPr>
          <p:cNvSpPr>
            <a:spLocks noGrp="1"/>
          </p:cNvSpPr>
          <p:nvPr>
            <p:ph type="body" sz="quarter" idx="18" hasCustomPrompt="1"/>
          </p:nvPr>
        </p:nvSpPr>
        <p:spPr>
          <a:xfrm>
            <a:off x="578626" y="3314700"/>
            <a:ext cx="3147237" cy="2400300"/>
          </a:xfrm>
        </p:spPr>
        <p:txBody>
          <a:bodyPr>
            <a:noAutofit/>
          </a:bodyPr>
          <a:lstStyle>
            <a:lvl1pPr>
              <a:defRPr sz="2400" b="0"/>
            </a:lvl1pPr>
            <a:lvl2pPr>
              <a:defRPr sz="1600"/>
            </a:lvl2pPr>
            <a:lvl3pPr>
              <a:defRPr sz="1600"/>
            </a:lvl3pPr>
            <a:lvl4pPr>
              <a:defRPr sz="1600"/>
            </a:lvl4pPr>
            <a:lvl5pPr>
              <a:defRPr sz="1600"/>
            </a:lvl5pPr>
          </a:lstStyle>
          <a:p>
            <a:pPr lvl="0"/>
            <a:r>
              <a:rPr lang="en-US"/>
              <a:t>Click to edit text</a:t>
            </a:r>
          </a:p>
        </p:txBody>
      </p:sp>
    </p:spTree>
    <p:extLst>
      <p:ext uri="{BB962C8B-B14F-4D97-AF65-F5344CB8AC3E}">
        <p14:creationId xmlns:p14="http://schemas.microsoft.com/office/powerpoint/2010/main" val="26504539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p:txBody>
          <a:bodyPr/>
          <a:lstStyle/>
          <a:p>
            <a:r>
              <a:rPr lang="en-US"/>
              <a:t>Three pictures layout: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06D72B6C-433A-754A-A904-BB41C190A753}"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Rectangle 8">
            <a:extLst>
              <a:ext uri="{FF2B5EF4-FFF2-40B4-BE49-F238E27FC236}">
                <a16:creationId xmlns:a16="http://schemas.microsoft.com/office/drawing/2014/main" id="{877B44EB-EEC2-A738-CAC4-6D457D8E7173}"/>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icture Placeholder 19">
            <a:extLst>
              <a:ext uri="{FF2B5EF4-FFF2-40B4-BE49-F238E27FC236}">
                <a16:creationId xmlns:a16="http://schemas.microsoft.com/office/drawing/2014/main" id="{494779D4-683D-10A1-C78E-B175977898ED}"/>
              </a:ext>
            </a:extLst>
          </p:cNvPr>
          <p:cNvSpPr>
            <a:spLocks noGrp="1"/>
          </p:cNvSpPr>
          <p:nvPr>
            <p:ph type="pic" sz="quarter" idx="13" hasCustomPrompt="1"/>
          </p:nvPr>
        </p:nvSpPr>
        <p:spPr>
          <a:xfrm>
            <a:off x="588892" y="1943100"/>
            <a:ext cx="3136971"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22" name="Text Placeholder 10">
            <a:extLst>
              <a:ext uri="{FF2B5EF4-FFF2-40B4-BE49-F238E27FC236}">
                <a16:creationId xmlns:a16="http://schemas.microsoft.com/office/drawing/2014/main" id="{EB215792-AB51-3D2C-AE83-FBB4D723E604}"/>
              </a:ext>
            </a:extLst>
          </p:cNvPr>
          <p:cNvSpPr>
            <a:spLocks noGrp="1"/>
          </p:cNvSpPr>
          <p:nvPr>
            <p:ph type="body" sz="quarter" idx="15" hasCustomPrompt="1"/>
          </p:nvPr>
        </p:nvSpPr>
        <p:spPr>
          <a:xfrm>
            <a:off x="571500" y="4362242"/>
            <a:ext cx="3154363"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24" name="Picture Placeholder 19">
            <a:extLst>
              <a:ext uri="{FF2B5EF4-FFF2-40B4-BE49-F238E27FC236}">
                <a16:creationId xmlns:a16="http://schemas.microsoft.com/office/drawing/2014/main" id="{53ED7EF7-7A30-44CE-BD8E-056DA93B9146}"/>
              </a:ext>
            </a:extLst>
          </p:cNvPr>
          <p:cNvSpPr>
            <a:spLocks noGrp="1"/>
          </p:cNvSpPr>
          <p:nvPr>
            <p:ph type="pic" sz="quarter" idx="16" hasCustomPrompt="1"/>
          </p:nvPr>
        </p:nvSpPr>
        <p:spPr>
          <a:xfrm>
            <a:off x="3949126" y="1943100"/>
            <a:ext cx="3136971"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25" name="Text Placeholder 10">
            <a:extLst>
              <a:ext uri="{FF2B5EF4-FFF2-40B4-BE49-F238E27FC236}">
                <a16:creationId xmlns:a16="http://schemas.microsoft.com/office/drawing/2014/main" id="{9E86B906-30AB-0556-954A-0B4755054AFD}"/>
              </a:ext>
            </a:extLst>
          </p:cNvPr>
          <p:cNvSpPr>
            <a:spLocks noGrp="1"/>
          </p:cNvSpPr>
          <p:nvPr>
            <p:ph type="body" sz="quarter" idx="17" hasCustomPrompt="1"/>
          </p:nvPr>
        </p:nvSpPr>
        <p:spPr>
          <a:xfrm>
            <a:off x="3949126" y="4362242"/>
            <a:ext cx="3136971"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26" name="Picture Placeholder 19">
            <a:extLst>
              <a:ext uri="{FF2B5EF4-FFF2-40B4-BE49-F238E27FC236}">
                <a16:creationId xmlns:a16="http://schemas.microsoft.com/office/drawing/2014/main" id="{F61FF6F9-ED7E-FEC7-1B65-F5E204CAAADC}"/>
              </a:ext>
            </a:extLst>
          </p:cNvPr>
          <p:cNvSpPr>
            <a:spLocks noGrp="1"/>
          </p:cNvSpPr>
          <p:nvPr>
            <p:ph type="pic" sz="quarter" idx="18" hasCustomPrompt="1"/>
          </p:nvPr>
        </p:nvSpPr>
        <p:spPr>
          <a:xfrm>
            <a:off x="7331662" y="1943100"/>
            <a:ext cx="3136971"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27" name="Text Placeholder 10">
            <a:extLst>
              <a:ext uri="{FF2B5EF4-FFF2-40B4-BE49-F238E27FC236}">
                <a16:creationId xmlns:a16="http://schemas.microsoft.com/office/drawing/2014/main" id="{9D18F650-03ED-4260-A8EE-F2D1A3EF2047}"/>
              </a:ext>
            </a:extLst>
          </p:cNvPr>
          <p:cNvSpPr>
            <a:spLocks noGrp="1"/>
          </p:cNvSpPr>
          <p:nvPr>
            <p:ph type="body" sz="quarter" idx="19" hasCustomPrompt="1"/>
          </p:nvPr>
        </p:nvSpPr>
        <p:spPr>
          <a:xfrm>
            <a:off x="7337424" y="4362242"/>
            <a:ext cx="3154363"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Tree>
    <p:extLst>
      <p:ext uri="{BB962C8B-B14F-4D97-AF65-F5344CB8AC3E}">
        <p14:creationId xmlns:p14="http://schemas.microsoft.com/office/powerpoint/2010/main" val="34579431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ultiple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p:txBody>
          <a:bodyPr/>
          <a:lstStyle/>
          <a:p>
            <a:r>
              <a:rPr lang="en-US"/>
              <a:t>Four/five pictures layout: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66DACCBF-D758-C248-8684-6518B994238B}"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Rectangle 8">
            <a:extLst>
              <a:ext uri="{FF2B5EF4-FFF2-40B4-BE49-F238E27FC236}">
                <a16:creationId xmlns:a16="http://schemas.microsoft.com/office/drawing/2014/main" id="{877B44EB-EEC2-A738-CAC4-6D457D8E7173}"/>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icture Placeholder 19">
            <a:extLst>
              <a:ext uri="{FF2B5EF4-FFF2-40B4-BE49-F238E27FC236}">
                <a16:creationId xmlns:a16="http://schemas.microsoft.com/office/drawing/2014/main" id="{494779D4-683D-10A1-C78E-B175977898ED}"/>
              </a:ext>
            </a:extLst>
          </p:cNvPr>
          <p:cNvSpPr>
            <a:spLocks noGrp="1"/>
          </p:cNvSpPr>
          <p:nvPr>
            <p:ph type="pic" sz="quarter" idx="13" hasCustomPrompt="1"/>
          </p:nvPr>
        </p:nvSpPr>
        <p:spPr>
          <a:xfrm>
            <a:off x="588893" y="1943100"/>
            <a:ext cx="2008257"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22" name="Text Placeholder 10">
            <a:extLst>
              <a:ext uri="{FF2B5EF4-FFF2-40B4-BE49-F238E27FC236}">
                <a16:creationId xmlns:a16="http://schemas.microsoft.com/office/drawing/2014/main" id="{EB215792-AB51-3D2C-AE83-FBB4D723E604}"/>
              </a:ext>
            </a:extLst>
          </p:cNvPr>
          <p:cNvSpPr>
            <a:spLocks noGrp="1"/>
          </p:cNvSpPr>
          <p:nvPr>
            <p:ph type="body" sz="quarter" idx="15" hasCustomPrompt="1"/>
          </p:nvPr>
        </p:nvSpPr>
        <p:spPr>
          <a:xfrm>
            <a:off x="571501" y="4362242"/>
            <a:ext cx="2025650"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11" name="Picture Placeholder 19">
            <a:extLst>
              <a:ext uri="{FF2B5EF4-FFF2-40B4-BE49-F238E27FC236}">
                <a16:creationId xmlns:a16="http://schemas.microsoft.com/office/drawing/2014/main" id="{8EA39422-F171-9629-0A71-26F1536944C1}"/>
              </a:ext>
            </a:extLst>
          </p:cNvPr>
          <p:cNvSpPr>
            <a:spLocks noGrp="1"/>
          </p:cNvSpPr>
          <p:nvPr>
            <p:ph type="pic" sz="quarter" idx="16" hasCustomPrompt="1"/>
          </p:nvPr>
        </p:nvSpPr>
        <p:spPr>
          <a:xfrm>
            <a:off x="2843897" y="1943100"/>
            <a:ext cx="2008257"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12" name="Text Placeholder 10">
            <a:extLst>
              <a:ext uri="{FF2B5EF4-FFF2-40B4-BE49-F238E27FC236}">
                <a16:creationId xmlns:a16="http://schemas.microsoft.com/office/drawing/2014/main" id="{C4CF9624-1D72-53C9-C0C2-703DC9224DD9}"/>
              </a:ext>
            </a:extLst>
          </p:cNvPr>
          <p:cNvSpPr>
            <a:spLocks noGrp="1"/>
          </p:cNvSpPr>
          <p:nvPr>
            <p:ph type="body" sz="quarter" idx="17" hasCustomPrompt="1"/>
          </p:nvPr>
        </p:nvSpPr>
        <p:spPr>
          <a:xfrm>
            <a:off x="2826505" y="4362242"/>
            <a:ext cx="2025650"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13" name="Picture Placeholder 19">
            <a:extLst>
              <a:ext uri="{FF2B5EF4-FFF2-40B4-BE49-F238E27FC236}">
                <a16:creationId xmlns:a16="http://schemas.microsoft.com/office/drawing/2014/main" id="{61316430-6723-57D1-9C4B-10DF609BE95A}"/>
              </a:ext>
            </a:extLst>
          </p:cNvPr>
          <p:cNvSpPr>
            <a:spLocks noGrp="1"/>
          </p:cNvSpPr>
          <p:nvPr>
            <p:ph type="pic" sz="quarter" idx="18" hasCustomPrompt="1"/>
          </p:nvPr>
        </p:nvSpPr>
        <p:spPr>
          <a:xfrm>
            <a:off x="5083402" y="1943100"/>
            <a:ext cx="2008257"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14" name="Text Placeholder 10">
            <a:extLst>
              <a:ext uri="{FF2B5EF4-FFF2-40B4-BE49-F238E27FC236}">
                <a16:creationId xmlns:a16="http://schemas.microsoft.com/office/drawing/2014/main" id="{3356285B-0E43-2FC8-6F79-1E8ED5B7E7DE}"/>
              </a:ext>
            </a:extLst>
          </p:cNvPr>
          <p:cNvSpPr>
            <a:spLocks noGrp="1"/>
          </p:cNvSpPr>
          <p:nvPr>
            <p:ph type="body" sz="quarter" idx="19" hasCustomPrompt="1"/>
          </p:nvPr>
        </p:nvSpPr>
        <p:spPr>
          <a:xfrm>
            <a:off x="5066010" y="4362242"/>
            <a:ext cx="2025650"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15" name="Picture Placeholder 19">
            <a:extLst>
              <a:ext uri="{FF2B5EF4-FFF2-40B4-BE49-F238E27FC236}">
                <a16:creationId xmlns:a16="http://schemas.microsoft.com/office/drawing/2014/main" id="{3E92ED71-5697-D3B8-4068-27EEC15C0996}"/>
              </a:ext>
            </a:extLst>
          </p:cNvPr>
          <p:cNvSpPr>
            <a:spLocks noGrp="1"/>
          </p:cNvSpPr>
          <p:nvPr>
            <p:ph type="pic" sz="quarter" idx="20" hasCustomPrompt="1"/>
          </p:nvPr>
        </p:nvSpPr>
        <p:spPr>
          <a:xfrm>
            <a:off x="7346155" y="1943100"/>
            <a:ext cx="2008257"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16" name="Text Placeholder 10">
            <a:extLst>
              <a:ext uri="{FF2B5EF4-FFF2-40B4-BE49-F238E27FC236}">
                <a16:creationId xmlns:a16="http://schemas.microsoft.com/office/drawing/2014/main" id="{27431601-A01C-CB86-C9D7-481D92D3303A}"/>
              </a:ext>
            </a:extLst>
          </p:cNvPr>
          <p:cNvSpPr>
            <a:spLocks noGrp="1"/>
          </p:cNvSpPr>
          <p:nvPr>
            <p:ph type="body" sz="quarter" idx="21" hasCustomPrompt="1"/>
          </p:nvPr>
        </p:nvSpPr>
        <p:spPr>
          <a:xfrm>
            <a:off x="7328763" y="4362242"/>
            <a:ext cx="2025650"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a:t>
            </a:r>
          </a:p>
        </p:txBody>
      </p:sp>
      <p:sp>
        <p:nvSpPr>
          <p:cNvPr id="17" name="Picture Placeholder 19">
            <a:extLst>
              <a:ext uri="{FF2B5EF4-FFF2-40B4-BE49-F238E27FC236}">
                <a16:creationId xmlns:a16="http://schemas.microsoft.com/office/drawing/2014/main" id="{A167DBB4-6581-7832-3C59-C6DE3515070B}"/>
              </a:ext>
            </a:extLst>
          </p:cNvPr>
          <p:cNvSpPr>
            <a:spLocks noGrp="1"/>
          </p:cNvSpPr>
          <p:nvPr>
            <p:ph type="pic" sz="quarter" idx="22" hasCustomPrompt="1"/>
          </p:nvPr>
        </p:nvSpPr>
        <p:spPr>
          <a:xfrm>
            <a:off x="9608907" y="1943100"/>
            <a:ext cx="2008257" cy="2171700"/>
          </a:xfrm>
          <a:pattFill prst="pct20">
            <a:fgClr>
              <a:schemeClr val="accent1"/>
            </a:fgClr>
            <a:bgClr>
              <a:schemeClr val="bg1"/>
            </a:bgClr>
          </a:pattFill>
        </p:spPr>
        <p:txBody>
          <a:bodyPr anchor="ctr">
            <a:normAutofit/>
          </a:bodyPr>
          <a:lstStyle>
            <a:lvl1pPr algn="ctr">
              <a:defRPr sz="2000"/>
            </a:lvl1pPr>
          </a:lstStyle>
          <a:p>
            <a:r>
              <a:rPr lang="en-US"/>
              <a:t>Click to add a Picture</a:t>
            </a:r>
          </a:p>
        </p:txBody>
      </p:sp>
      <p:sp>
        <p:nvSpPr>
          <p:cNvPr id="18" name="Text Placeholder 10">
            <a:extLst>
              <a:ext uri="{FF2B5EF4-FFF2-40B4-BE49-F238E27FC236}">
                <a16:creationId xmlns:a16="http://schemas.microsoft.com/office/drawing/2014/main" id="{EB91B71F-F8E7-7A0A-6B51-0FB6BD44E80C}"/>
              </a:ext>
            </a:extLst>
          </p:cNvPr>
          <p:cNvSpPr>
            <a:spLocks noGrp="1"/>
          </p:cNvSpPr>
          <p:nvPr>
            <p:ph type="body" sz="quarter" idx="23" hasCustomPrompt="1"/>
          </p:nvPr>
        </p:nvSpPr>
        <p:spPr>
          <a:xfrm>
            <a:off x="9591515" y="4362242"/>
            <a:ext cx="2025650" cy="1352757"/>
          </a:xfrm>
        </p:spPr>
        <p:txBody>
          <a:bodyPr>
            <a:noAutofit/>
          </a:bodyPr>
          <a:lstStyle>
            <a:lvl1pPr>
              <a:defRPr sz="1600" b="0"/>
            </a:lvl1pPr>
            <a:lvl2pPr>
              <a:defRPr sz="1600"/>
            </a:lvl2pPr>
            <a:lvl3pPr>
              <a:defRPr sz="1600"/>
            </a:lvl3pPr>
            <a:lvl4pPr>
              <a:defRPr sz="1600"/>
            </a:lvl4pPr>
            <a:lvl5pPr>
              <a:defRPr sz="1600"/>
            </a:lvl5pPr>
          </a:lstStyle>
          <a:p>
            <a:pPr lvl="0"/>
            <a:r>
              <a:rPr lang="en-US"/>
              <a:t>Click to edit text. Delete this section for a four pictures layout</a:t>
            </a:r>
          </a:p>
        </p:txBody>
      </p:sp>
    </p:spTree>
    <p:extLst>
      <p:ext uri="{BB962C8B-B14F-4D97-AF65-F5344CB8AC3E}">
        <p14:creationId xmlns:p14="http://schemas.microsoft.com/office/powerpoint/2010/main" val="33776977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F55E616-0A95-172D-8E19-0B7E802A2E6E}"/>
              </a:ext>
            </a:extLst>
          </p:cNvPr>
          <p:cNvSpPr>
            <a:spLocks noGrp="1"/>
          </p:cNvSpPr>
          <p:nvPr>
            <p:ph type="dt" sz="half" idx="10"/>
          </p:nvPr>
        </p:nvSpPr>
        <p:spPr/>
        <p:txBody>
          <a:bodyPr/>
          <a:lstStyle/>
          <a:p>
            <a:fld id="{4B13C67E-700B-4847-8425-1BE9340BF764}" type="datetime1">
              <a:rPr lang="en-US" smtClean="0"/>
              <a:t>11/28/2023</a:t>
            </a:fld>
            <a:endParaRPr lang="en-US"/>
          </a:p>
        </p:txBody>
      </p:sp>
      <p:sp>
        <p:nvSpPr>
          <p:cNvPr id="6" name="Footer Placeholder 5">
            <a:extLst>
              <a:ext uri="{FF2B5EF4-FFF2-40B4-BE49-F238E27FC236}">
                <a16:creationId xmlns:a16="http://schemas.microsoft.com/office/drawing/2014/main" id="{31581F8A-6E6D-F3B0-41BC-429A3770F6C4}"/>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FDA53C3-B1DA-5472-4C11-E6F396DE344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8" name="Picture Placeholder 19">
            <a:extLst>
              <a:ext uri="{FF2B5EF4-FFF2-40B4-BE49-F238E27FC236}">
                <a16:creationId xmlns:a16="http://schemas.microsoft.com/office/drawing/2014/main" id="{241AFEEA-07CB-1571-55B9-F824387FF761}"/>
              </a:ext>
            </a:extLst>
          </p:cNvPr>
          <p:cNvSpPr>
            <a:spLocks noGrp="1"/>
          </p:cNvSpPr>
          <p:nvPr>
            <p:ph type="pic" sz="quarter" idx="13" hasCustomPrompt="1"/>
          </p:nvPr>
        </p:nvSpPr>
        <p:spPr>
          <a:xfrm>
            <a:off x="588892" y="0"/>
            <a:ext cx="11031608" cy="5715000"/>
          </a:xfrm>
          <a:pattFill prst="pct20">
            <a:fgClr>
              <a:schemeClr val="accent1"/>
            </a:fgClr>
            <a:bgClr>
              <a:schemeClr val="bg1"/>
            </a:bgClr>
          </a:pattFill>
        </p:spPr>
        <p:txBody>
          <a:bodyPr anchor="ctr"/>
          <a:lstStyle>
            <a:lvl1pPr algn="ctr">
              <a:defRPr/>
            </a:lvl1pPr>
          </a:lstStyle>
          <a:p>
            <a:r>
              <a:rPr lang="en-US"/>
              <a:t>Click to add a picture</a:t>
            </a:r>
          </a:p>
        </p:txBody>
      </p:sp>
    </p:spTree>
    <p:extLst>
      <p:ext uri="{BB962C8B-B14F-4D97-AF65-F5344CB8AC3E}">
        <p14:creationId xmlns:p14="http://schemas.microsoft.com/office/powerpoint/2010/main" val="26646327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F55E616-0A95-172D-8E19-0B7E802A2E6E}"/>
              </a:ext>
            </a:extLst>
          </p:cNvPr>
          <p:cNvSpPr>
            <a:spLocks noGrp="1"/>
          </p:cNvSpPr>
          <p:nvPr>
            <p:ph type="dt" sz="half" idx="10"/>
          </p:nvPr>
        </p:nvSpPr>
        <p:spPr/>
        <p:txBody>
          <a:bodyPr/>
          <a:lstStyle/>
          <a:p>
            <a:fld id="{72F81C61-0447-9F41-85BB-B2CBB74DCA9C}" type="datetime1">
              <a:rPr lang="en-US" smtClean="0"/>
              <a:t>11/28/2023</a:t>
            </a:fld>
            <a:endParaRPr lang="en-US"/>
          </a:p>
        </p:txBody>
      </p:sp>
      <p:sp>
        <p:nvSpPr>
          <p:cNvPr id="6" name="Footer Placeholder 5">
            <a:extLst>
              <a:ext uri="{FF2B5EF4-FFF2-40B4-BE49-F238E27FC236}">
                <a16:creationId xmlns:a16="http://schemas.microsoft.com/office/drawing/2014/main" id="{31581F8A-6E6D-F3B0-41BC-429A3770F6C4}"/>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FDA53C3-B1DA-5472-4C11-E6F396DE344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8" name="Picture Placeholder 19">
            <a:extLst>
              <a:ext uri="{FF2B5EF4-FFF2-40B4-BE49-F238E27FC236}">
                <a16:creationId xmlns:a16="http://schemas.microsoft.com/office/drawing/2014/main" id="{241AFEEA-07CB-1571-55B9-F824387FF761}"/>
              </a:ext>
            </a:extLst>
          </p:cNvPr>
          <p:cNvSpPr>
            <a:spLocks noGrp="1"/>
          </p:cNvSpPr>
          <p:nvPr>
            <p:ph type="pic" sz="quarter" idx="13" hasCustomPrompt="1"/>
          </p:nvPr>
        </p:nvSpPr>
        <p:spPr>
          <a:xfrm>
            <a:off x="580196" y="1943100"/>
            <a:ext cx="9911592" cy="4914900"/>
          </a:xfrm>
          <a:pattFill prst="pct20">
            <a:fgClr>
              <a:schemeClr val="accent1"/>
            </a:fgClr>
            <a:bgClr>
              <a:schemeClr val="bg1"/>
            </a:bgClr>
          </a:pattFill>
        </p:spPr>
        <p:txBody>
          <a:bodyPr anchor="ctr"/>
          <a:lstStyle>
            <a:lvl1pPr algn="ctr">
              <a:defRPr/>
            </a:lvl1pPr>
          </a:lstStyle>
          <a:p>
            <a:r>
              <a:rPr lang="en-US"/>
              <a:t>Click to add a picture</a:t>
            </a:r>
          </a:p>
        </p:txBody>
      </p:sp>
      <p:sp>
        <p:nvSpPr>
          <p:cNvPr id="2" name="Title 1">
            <a:extLst>
              <a:ext uri="{FF2B5EF4-FFF2-40B4-BE49-F238E27FC236}">
                <a16:creationId xmlns:a16="http://schemas.microsoft.com/office/drawing/2014/main" id="{DAA65946-B314-9472-B4C6-55E8CE7C5B2E}"/>
              </a:ext>
            </a:extLst>
          </p:cNvPr>
          <p:cNvSpPr>
            <a:spLocks noGrp="1"/>
          </p:cNvSpPr>
          <p:nvPr>
            <p:ph type="title" hasCustomPrompt="1"/>
          </p:nvPr>
        </p:nvSpPr>
        <p:spPr>
          <a:xfrm>
            <a:off x="588892" y="342899"/>
            <a:ext cx="8775772" cy="800101"/>
          </a:xfrm>
        </p:spPr>
        <p:txBody>
          <a:bodyPr anchor="b">
            <a:noAutofit/>
          </a:bodyPr>
          <a:lstStyle>
            <a:lvl1pPr>
              <a:defRPr sz="2400"/>
            </a:lvl1pPr>
          </a:lstStyle>
          <a:p>
            <a:r>
              <a:rPr lang="en-US"/>
              <a:t>Picture with title and subtitle/caption: click to edit title</a:t>
            </a:r>
          </a:p>
        </p:txBody>
      </p:sp>
      <p:sp>
        <p:nvSpPr>
          <p:cNvPr id="3" name="Text Placeholder 3">
            <a:extLst>
              <a:ext uri="{FF2B5EF4-FFF2-40B4-BE49-F238E27FC236}">
                <a16:creationId xmlns:a16="http://schemas.microsoft.com/office/drawing/2014/main" id="{51CFCC38-E529-9737-0EAE-8BCABF207C76}"/>
              </a:ext>
            </a:extLst>
          </p:cNvPr>
          <p:cNvSpPr>
            <a:spLocks noGrp="1"/>
          </p:cNvSpPr>
          <p:nvPr>
            <p:ph type="body" sz="half" idx="2" hasCustomPrompt="1"/>
          </p:nvPr>
        </p:nvSpPr>
        <p:spPr>
          <a:xfrm>
            <a:off x="571499" y="1143000"/>
            <a:ext cx="8793164" cy="571500"/>
          </a:xfrm>
        </p:spPr>
        <p:txBody>
          <a:bodyPr>
            <a:no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subtitle/caption</a:t>
            </a:r>
          </a:p>
        </p:txBody>
      </p:sp>
    </p:spTree>
    <p:extLst>
      <p:ext uri="{BB962C8B-B14F-4D97-AF65-F5344CB8AC3E}">
        <p14:creationId xmlns:p14="http://schemas.microsoft.com/office/powerpoint/2010/main" val="7424382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cons Key Fig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AA199-43CA-E7A1-6CA4-F593E84821E1}"/>
              </a:ext>
            </a:extLst>
          </p:cNvPr>
          <p:cNvSpPr>
            <a:spLocks noGrp="1"/>
          </p:cNvSpPr>
          <p:nvPr>
            <p:ph type="title" hasCustomPrompt="1"/>
          </p:nvPr>
        </p:nvSpPr>
        <p:spPr/>
        <p:txBody>
          <a:bodyPr/>
          <a:lstStyle/>
          <a:p>
            <a:r>
              <a:rPr lang="en-US"/>
              <a:t>Ten icons/key figures layout: click to edit title</a:t>
            </a:r>
          </a:p>
        </p:txBody>
      </p:sp>
      <p:sp>
        <p:nvSpPr>
          <p:cNvPr id="5" name="Date Placeholder 4">
            <a:extLst>
              <a:ext uri="{FF2B5EF4-FFF2-40B4-BE49-F238E27FC236}">
                <a16:creationId xmlns:a16="http://schemas.microsoft.com/office/drawing/2014/main" id="{2818260E-4A5D-AAAC-79BC-8A6E4EDF90C3}"/>
              </a:ext>
            </a:extLst>
          </p:cNvPr>
          <p:cNvSpPr>
            <a:spLocks noGrp="1"/>
          </p:cNvSpPr>
          <p:nvPr>
            <p:ph type="dt" sz="half" idx="10"/>
          </p:nvPr>
        </p:nvSpPr>
        <p:spPr/>
        <p:txBody>
          <a:bodyPr/>
          <a:lstStyle/>
          <a:p>
            <a:fld id="{251B6D85-C448-7042-B369-65F4DEE00544}" type="datetime1">
              <a:rPr lang="en-US" smtClean="0"/>
              <a:t>11/28/2023</a:t>
            </a:fld>
            <a:endParaRPr lang="en-US"/>
          </a:p>
        </p:txBody>
      </p:sp>
      <p:sp>
        <p:nvSpPr>
          <p:cNvPr id="6" name="Footer Placeholder 5">
            <a:extLst>
              <a:ext uri="{FF2B5EF4-FFF2-40B4-BE49-F238E27FC236}">
                <a16:creationId xmlns:a16="http://schemas.microsoft.com/office/drawing/2014/main" id="{B7198166-8B7C-6575-FA36-74E537EF6E9E}"/>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FDB3764C-5781-3964-2E2E-EA6D08908C5F}"/>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Rectangle 8">
            <a:extLst>
              <a:ext uri="{FF2B5EF4-FFF2-40B4-BE49-F238E27FC236}">
                <a16:creationId xmlns:a16="http://schemas.microsoft.com/office/drawing/2014/main" id="{877B44EB-EEC2-A738-CAC4-6D457D8E7173}"/>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10">
            <a:extLst>
              <a:ext uri="{FF2B5EF4-FFF2-40B4-BE49-F238E27FC236}">
                <a16:creationId xmlns:a16="http://schemas.microsoft.com/office/drawing/2014/main" id="{EB215792-AB51-3D2C-AE83-FBB4D723E604}"/>
              </a:ext>
            </a:extLst>
          </p:cNvPr>
          <p:cNvSpPr>
            <a:spLocks noGrp="1"/>
          </p:cNvSpPr>
          <p:nvPr>
            <p:ph type="body" sz="quarter" idx="15" hasCustomPrompt="1"/>
          </p:nvPr>
        </p:nvSpPr>
        <p:spPr>
          <a:xfrm>
            <a:off x="588892" y="2997388"/>
            <a:ext cx="1993664"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Go to Graphics Format&gt;Crop&gt;Fit to adapt the icon size </a:t>
            </a:r>
          </a:p>
        </p:txBody>
      </p:sp>
      <p:sp>
        <p:nvSpPr>
          <p:cNvPr id="4" name="Text Placeholder 10">
            <a:extLst>
              <a:ext uri="{FF2B5EF4-FFF2-40B4-BE49-F238E27FC236}">
                <a16:creationId xmlns:a16="http://schemas.microsoft.com/office/drawing/2014/main" id="{698C4C16-D9EE-3E69-B195-41B244D0EDCB}"/>
              </a:ext>
            </a:extLst>
          </p:cNvPr>
          <p:cNvSpPr>
            <a:spLocks noGrp="1"/>
          </p:cNvSpPr>
          <p:nvPr>
            <p:ph type="body" sz="quarter" idx="17" hasCustomPrompt="1"/>
          </p:nvPr>
        </p:nvSpPr>
        <p:spPr>
          <a:xfrm>
            <a:off x="2831331" y="2997388"/>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8" name="Picture Placeholder 19">
            <a:extLst>
              <a:ext uri="{FF2B5EF4-FFF2-40B4-BE49-F238E27FC236}">
                <a16:creationId xmlns:a16="http://schemas.microsoft.com/office/drawing/2014/main" id="{0639A4E7-6BF7-EBE3-C312-F0877FFD9EB8}"/>
              </a:ext>
            </a:extLst>
          </p:cNvPr>
          <p:cNvSpPr>
            <a:spLocks noGrp="1" noChangeAspect="1"/>
          </p:cNvSpPr>
          <p:nvPr>
            <p:ph type="pic" sz="quarter" idx="18" hasCustomPrompt="1"/>
          </p:nvPr>
        </p:nvSpPr>
        <p:spPr>
          <a:xfrm>
            <a:off x="5581721" y="1943100"/>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10" name="Text Placeholder 10">
            <a:extLst>
              <a:ext uri="{FF2B5EF4-FFF2-40B4-BE49-F238E27FC236}">
                <a16:creationId xmlns:a16="http://schemas.microsoft.com/office/drawing/2014/main" id="{ABDCF169-B156-945A-204D-38A6977BB2C0}"/>
              </a:ext>
            </a:extLst>
          </p:cNvPr>
          <p:cNvSpPr>
            <a:spLocks noGrp="1"/>
          </p:cNvSpPr>
          <p:nvPr>
            <p:ph type="body" sz="quarter" idx="19" hasCustomPrompt="1"/>
          </p:nvPr>
        </p:nvSpPr>
        <p:spPr>
          <a:xfrm>
            <a:off x="5094182" y="2997388"/>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11" name="Picture Placeholder 19">
            <a:extLst>
              <a:ext uri="{FF2B5EF4-FFF2-40B4-BE49-F238E27FC236}">
                <a16:creationId xmlns:a16="http://schemas.microsoft.com/office/drawing/2014/main" id="{241C9816-DCA2-0A5A-8431-2DCE94D8AB12}"/>
              </a:ext>
            </a:extLst>
          </p:cNvPr>
          <p:cNvSpPr>
            <a:spLocks noGrp="1" noChangeAspect="1"/>
          </p:cNvSpPr>
          <p:nvPr>
            <p:ph type="pic" sz="quarter" idx="20" hasCustomPrompt="1"/>
          </p:nvPr>
        </p:nvSpPr>
        <p:spPr>
          <a:xfrm>
            <a:off x="7832997" y="1943100"/>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12" name="Text Placeholder 10">
            <a:extLst>
              <a:ext uri="{FF2B5EF4-FFF2-40B4-BE49-F238E27FC236}">
                <a16:creationId xmlns:a16="http://schemas.microsoft.com/office/drawing/2014/main" id="{25FA9622-540E-E754-20B2-5EFCBBABD488}"/>
              </a:ext>
            </a:extLst>
          </p:cNvPr>
          <p:cNvSpPr>
            <a:spLocks noGrp="1"/>
          </p:cNvSpPr>
          <p:nvPr>
            <p:ph type="body" sz="quarter" idx="21" hasCustomPrompt="1"/>
          </p:nvPr>
        </p:nvSpPr>
        <p:spPr>
          <a:xfrm>
            <a:off x="7345458" y="2997388"/>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13" name="Picture Placeholder 19">
            <a:extLst>
              <a:ext uri="{FF2B5EF4-FFF2-40B4-BE49-F238E27FC236}">
                <a16:creationId xmlns:a16="http://schemas.microsoft.com/office/drawing/2014/main" id="{B7F85DF6-5B5E-B5CD-9D19-67A34F13D7EB}"/>
              </a:ext>
            </a:extLst>
          </p:cNvPr>
          <p:cNvSpPr>
            <a:spLocks noGrp="1" noChangeAspect="1"/>
          </p:cNvSpPr>
          <p:nvPr>
            <p:ph type="pic" sz="quarter" idx="22" hasCustomPrompt="1"/>
          </p:nvPr>
        </p:nvSpPr>
        <p:spPr>
          <a:xfrm>
            <a:off x="1044445" y="4107566"/>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14" name="Text Placeholder 10">
            <a:extLst>
              <a:ext uri="{FF2B5EF4-FFF2-40B4-BE49-F238E27FC236}">
                <a16:creationId xmlns:a16="http://schemas.microsoft.com/office/drawing/2014/main" id="{D440CF42-687A-6159-3F94-ED9435DB4165}"/>
              </a:ext>
            </a:extLst>
          </p:cNvPr>
          <p:cNvSpPr>
            <a:spLocks noGrp="1"/>
          </p:cNvSpPr>
          <p:nvPr>
            <p:ph type="body" sz="quarter" idx="23" hasCustomPrompt="1"/>
          </p:nvPr>
        </p:nvSpPr>
        <p:spPr>
          <a:xfrm>
            <a:off x="571500" y="5161854"/>
            <a:ext cx="2011056"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15" name="Picture Placeholder 19">
            <a:extLst>
              <a:ext uri="{FF2B5EF4-FFF2-40B4-BE49-F238E27FC236}">
                <a16:creationId xmlns:a16="http://schemas.microsoft.com/office/drawing/2014/main" id="{7A305587-EF9F-4F1A-8783-282C64B3B59D}"/>
              </a:ext>
            </a:extLst>
          </p:cNvPr>
          <p:cNvSpPr>
            <a:spLocks noGrp="1" noChangeAspect="1"/>
          </p:cNvSpPr>
          <p:nvPr>
            <p:ph type="pic" sz="quarter" idx="24" hasCustomPrompt="1"/>
          </p:nvPr>
        </p:nvSpPr>
        <p:spPr>
          <a:xfrm>
            <a:off x="3318870" y="4107566"/>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16" name="Text Placeholder 10">
            <a:extLst>
              <a:ext uri="{FF2B5EF4-FFF2-40B4-BE49-F238E27FC236}">
                <a16:creationId xmlns:a16="http://schemas.microsoft.com/office/drawing/2014/main" id="{D99F4F04-5C0A-9AD2-378F-EEC6C75506C0}"/>
              </a:ext>
            </a:extLst>
          </p:cNvPr>
          <p:cNvSpPr>
            <a:spLocks noGrp="1"/>
          </p:cNvSpPr>
          <p:nvPr>
            <p:ph type="body" sz="quarter" idx="25" hasCustomPrompt="1"/>
          </p:nvPr>
        </p:nvSpPr>
        <p:spPr>
          <a:xfrm>
            <a:off x="2831331" y="5161854"/>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17" name="Picture Placeholder 19">
            <a:extLst>
              <a:ext uri="{FF2B5EF4-FFF2-40B4-BE49-F238E27FC236}">
                <a16:creationId xmlns:a16="http://schemas.microsoft.com/office/drawing/2014/main" id="{95C76222-5A71-85AA-D242-2692C71ECB2E}"/>
              </a:ext>
            </a:extLst>
          </p:cNvPr>
          <p:cNvSpPr>
            <a:spLocks noGrp="1" noChangeAspect="1"/>
          </p:cNvSpPr>
          <p:nvPr>
            <p:ph type="pic" sz="quarter" idx="26" hasCustomPrompt="1"/>
          </p:nvPr>
        </p:nvSpPr>
        <p:spPr>
          <a:xfrm>
            <a:off x="5581721" y="4107566"/>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18" name="Text Placeholder 10">
            <a:extLst>
              <a:ext uri="{FF2B5EF4-FFF2-40B4-BE49-F238E27FC236}">
                <a16:creationId xmlns:a16="http://schemas.microsoft.com/office/drawing/2014/main" id="{17B664F0-BDF4-2544-B5FE-2D50BDF6C623}"/>
              </a:ext>
            </a:extLst>
          </p:cNvPr>
          <p:cNvSpPr>
            <a:spLocks noGrp="1"/>
          </p:cNvSpPr>
          <p:nvPr>
            <p:ph type="body" sz="quarter" idx="27" hasCustomPrompt="1"/>
          </p:nvPr>
        </p:nvSpPr>
        <p:spPr>
          <a:xfrm>
            <a:off x="5094182" y="5161854"/>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19" name="Picture Placeholder 19">
            <a:extLst>
              <a:ext uri="{FF2B5EF4-FFF2-40B4-BE49-F238E27FC236}">
                <a16:creationId xmlns:a16="http://schemas.microsoft.com/office/drawing/2014/main" id="{95C0544E-3BC4-B017-79F8-0A65CFEBCA0D}"/>
              </a:ext>
            </a:extLst>
          </p:cNvPr>
          <p:cNvSpPr>
            <a:spLocks noGrp="1" noChangeAspect="1"/>
          </p:cNvSpPr>
          <p:nvPr>
            <p:ph type="pic" sz="quarter" idx="28" hasCustomPrompt="1"/>
          </p:nvPr>
        </p:nvSpPr>
        <p:spPr>
          <a:xfrm>
            <a:off x="7832997" y="4107566"/>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21" name="Text Placeholder 10">
            <a:extLst>
              <a:ext uri="{FF2B5EF4-FFF2-40B4-BE49-F238E27FC236}">
                <a16:creationId xmlns:a16="http://schemas.microsoft.com/office/drawing/2014/main" id="{1E45F21F-9D3D-5AD6-775C-8BCA49E1D10B}"/>
              </a:ext>
            </a:extLst>
          </p:cNvPr>
          <p:cNvSpPr>
            <a:spLocks noGrp="1"/>
          </p:cNvSpPr>
          <p:nvPr>
            <p:ph type="body" sz="quarter" idx="29" hasCustomPrompt="1"/>
          </p:nvPr>
        </p:nvSpPr>
        <p:spPr>
          <a:xfrm>
            <a:off x="7345458" y="5161854"/>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23" name="Picture Placeholder 19">
            <a:extLst>
              <a:ext uri="{FF2B5EF4-FFF2-40B4-BE49-F238E27FC236}">
                <a16:creationId xmlns:a16="http://schemas.microsoft.com/office/drawing/2014/main" id="{97A8D7F3-0D10-21D8-9168-6E70138AC96C}"/>
              </a:ext>
            </a:extLst>
          </p:cNvPr>
          <p:cNvSpPr>
            <a:spLocks noGrp="1" noChangeAspect="1"/>
          </p:cNvSpPr>
          <p:nvPr>
            <p:ph type="pic" sz="quarter" idx="30" hasCustomPrompt="1"/>
          </p:nvPr>
        </p:nvSpPr>
        <p:spPr>
          <a:xfrm>
            <a:off x="10090060" y="1943100"/>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28" name="Text Placeholder 10">
            <a:extLst>
              <a:ext uri="{FF2B5EF4-FFF2-40B4-BE49-F238E27FC236}">
                <a16:creationId xmlns:a16="http://schemas.microsoft.com/office/drawing/2014/main" id="{117DF11B-300B-1234-1BA9-87305F976809}"/>
              </a:ext>
            </a:extLst>
          </p:cNvPr>
          <p:cNvSpPr>
            <a:spLocks noGrp="1"/>
          </p:cNvSpPr>
          <p:nvPr>
            <p:ph type="body" sz="quarter" idx="31" hasCustomPrompt="1"/>
          </p:nvPr>
        </p:nvSpPr>
        <p:spPr>
          <a:xfrm>
            <a:off x="9602521" y="2997388"/>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29" name="Picture Placeholder 19">
            <a:extLst>
              <a:ext uri="{FF2B5EF4-FFF2-40B4-BE49-F238E27FC236}">
                <a16:creationId xmlns:a16="http://schemas.microsoft.com/office/drawing/2014/main" id="{5712DC62-F6DD-0E81-E0E8-340241EF9A93}"/>
              </a:ext>
            </a:extLst>
          </p:cNvPr>
          <p:cNvSpPr>
            <a:spLocks noGrp="1" noChangeAspect="1"/>
          </p:cNvSpPr>
          <p:nvPr>
            <p:ph type="pic" sz="quarter" idx="32" hasCustomPrompt="1"/>
          </p:nvPr>
        </p:nvSpPr>
        <p:spPr>
          <a:xfrm>
            <a:off x="10090060" y="4107566"/>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30" name="Text Placeholder 10">
            <a:extLst>
              <a:ext uri="{FF2B5EF4-FFF2-40B4-BE49-F238E27FC236}">
                <a16:creationId xmlns:a16="http://schemas.microsoft.com/office/drawing/2014/main" id="{2C5E4327-8944-65CF-DAC1-F467E96839E3}"/>
              </a:ext>
            </a:extLst>
          </p:cNvPr>
          <p:cNvSpPr>
            <a:spLocks noGrp="1"/>
          </p:cNvSpPr>
          <p:nvPr>
            <p:ph type="body" sz="quarter" idx="33" hasCustomPrompt="1"/>
          </p:nvPr>
        </p:nvSpPr>
        <p:spPr>
          <a:xfrm>
            <a:off x="9602521" y="5161854"/>
            <a:ext cx="2025650" cy="552658"/>
          </a:xfrm>
        </p:spPr>
        <p:txBody>
          <a:bodyPr>
            <a:noAutofit/>
          </a:bodyPr>
          <a:lstStyle>
            <a:lvl1pPr algn="ctr">
              <a:defRPr sz="1600" b="0"/>
            </a:lvl1pPr>
            <a:lvl2pPr>
              <a:defRPr sz="1600"/>
            </a:lvl2pPr>
            <a:lvl3pPr>
              <a:defRPr sz="1600"/>
            </a:lvl3pPr>
            <a:lvl4pPr>
              <a:defRPr sz="1600"/>
            </a:lvl4pPr>
            <a:lvl5pPr>
              <a:defRPr sz="1600"/>
            </a:lvl5pPr>
          </a:lstStyle>
          <a:p>
            <a:pPr lvl="0"/>
            <a:r>
              <a:rPr lang="en-US"/>
              <a:t>Click to edit text</a:t>
            </a:r>
          </a:p>
        </p:txBody>
      </p:sp>
      <p:sp>
        <p:nvSpPr>
          <p:cNvPr id="31" name="Picture Placeholder 19">
            <a:extLst>
              <a:ext uri="{FF2B5EF4-FFF2-40B4-BE49-F238E27FC236}">
                <a16:creationId xmlns:a16="http://schemas.microsoft.com/office/drawing/2014/main" id="{A7B42C44-887B-E5BB-F050-3C0ED3A64AFE}"/>
              </a:ext>
            </a:extLst>
          </p:cNvPr>
          <p:cNvSpPr>
            <a:spLocks noGrp="1" noChangeAspect="1"/>
          </p:cNvSpPr>
          <p:nvPr>
            <p:ph type="pic" sz="quarter" idx="34" hasCustomPrompt="1"/>
          </p:nvPr>
        </p:nvSpPr>
        <p:spPr>
          <a:xfrm>
            <a:off x="1051763" y="1943100"/>
            <a:ext cx="1050573" cy="1044604"/>
          </a:xfrm>
          <a:noFill/>
        </p:spPr>
        <p:txBody>
          <a:bodyPr anchor="ctr">
            <a:noAutofit/>
          </a:bodyPr>
          <a:lstStyle>
            <a:lvl1pPr algn="ctr">
              <a:defRPr sz="1000" b="1">
                <a:highlight>
                  <a:srgbClr val="FFFF00"/>
                </a:highlight>
              </a:defRPr>
            </a:lvl1pPr>
          </a:lstStyle>
          <a:p>
            <a:r>
              <a:rPr lang="en-US"/>
              <a:t>Click to add an SVG icon</a:t>
            </a:r>
          </a:p>
        </p:txBody>
      </p:sp>
      <p:sp>
        <p:nvSpPr>
          <p:cNvPr id="32" name="Picture Placeholder 19">
            <a:extLst>
              <a:ext uri="{FF2B5EF4-FFF2-40B4-BE49-F238E27FC236}">
                <a16:creationId xmlns:a16="http://schemas.microsoft.com/office/drawing/2014/main" id="{0B7F7F63-C5F9-D826-B934-B12167B5D26A}"/>
              </a:ext>
            </a:extLst>
          </p:cNvPr>
          <p:cNvSpPr>
            <a:spLocks noGrp="1" noChangeAspect="1"/>
          </p:cNvSpPr>
          <p:nvPr>
            <p:ph type="pic" sz="quarter" idx="35" hasCustomPrompt="1"/>
          </p:nvPr>
        </p:nvSpPr>
        <p:spPr>
          <a:xfrm>
            <a:off x="3303039" y="1943100"/>
            <a:ext cx="1050573" cy="1044604"/>
          </a:xfrm>
          <a:noFill/>
        </p:spPr>
        <p:txBody>
          <a:bodyPr anchor="ctr">
            <a:noAutofit/>
          </a:bodyPr>
          <a:lstStyle>
            <a:lvl1pPr algn="ctr">
              <a:defRPr sz="1000" b="1">
                <a:highlight>
                  <a:srgbClr val="FFFF00"/>
                </a:highlight>
              </a:defRPr>
            </a:lvl1pPr>
          </a:lstStyle>
          <a:p>
            <a:r>
              <a:rPr lang="en-US"/>
              <a:t>Click to add an SVG icon</a:t>
            </a:r>
          </a:p>
        </p:txBody>
      </p:sp>
    </p:spTree>
    <p:extLst>
      <p:ext uri="{BB962C8B-B14F-4D97-AF65-F5344CB8AC3E}">
        <p14:creationId xmlns:p14="http://schemas.microsoft.com/office/powerpoint/2010/main" val="7092467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A76FA-4F3F-86FC-6860-A2CD5B33C7C2}"/>
              </a:ext>
            </a:extLst>
          </p:cNvPr>
          <p:cNvSpPr>
            <a:spLocks noGrp="1"/>
          </p:cNvSpPr>
          <p:nvPr>
            <p:ph type="title" hasCustomPrompt="1"/>
          </p:nvPr>
        </p:nvSpPr>
        <p:spPr>
          <a:xfrm>
            <a:off x="571500" y="1143000"/>
            <a:ext cx="4281488" cy="1600200"/>
          </a:xfrm>
        </p:spPr>
        <p:txBody>
          <a:bodyPr anchor="b">
            <a:noAutofit/>
          </a:bodyPr>
          <a:lstStyle>
            <a:lvl1pPr>
              <a:defRPr sz="3200"/>
            </a:lvl1pPr>
          </a:lstStyle>
          <a:p>
            <a:r>
              <a:rPr lang="en-US"/>
              <a:t>Chart: click to edit title</a:t>
            </a:r>
          </a:p>
        </p:txBody>
      </p:sp>
      <p:sp>
        <p:nvSpPr>
          <p:cNvPr id="4" name="Text Placeholder 3">
            <a:extLst>
              <a:ext uri="{FF2B5EF4-FFF2-40B4-BE49-F238E27FC236}">
                <a16:creationId xmlns:a16="http://schemas.microsoft.com/office/drawing/2014/main" id="{A41DBE07-5B2A-695A-4135-8BAF43B380F4}"/>
              </a:ext>
            </a:extLst>
          </p:cNvPr>
          <p:cNvSpPr>
            <a:spLocks noGrp="1"/>
          </p:cNvSpPr>
          <p:nvPr>
            <p:ph type="body" sz="half" idx="2" hasCustomPrompt="1"/>
          </p:nvPr>
        </p:nvSpPr>
        <p:spPr>
          <a:xfrm>
            <a:off x="588892" y="2743200"/>
            <a:ext cx="4281488" cy="2971800"/>
          </a:xfrm>
        </p:spPr>
        <p:txBody>
          <a:bodyPr>
            <a:no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a:t>
            </a:r>
          </a:p>
        </p:txBody>
      </p:sp>
      <p:sp>
        <p:nvSpPr>
          <p:cNvPr id="5" name="Date Placeholder 4">
            <a:extLst>
              <a:ext uri="{FF2B5EF4-FFF2-40B4-BE49-F238E27FC236}">
                <a16:creationId xmlns:a16="http://schemas.microsoft.com/office/drawing/2014/main" id="{E8D251AB-4E51-0812-89E9-4BB2FBDC65C4}"/>
              </a:ext>
            </a:extLst>
          </p:cNvPr>
          <p:cNvSpPr>
            <a:spLocks noGrp="1"/>
          </p:cNvSpPr>
          <p:nvPr>
            <p:ph type="dt" sz="half" idx="10"/>
          </p:nvPr>
        </p:nvSpPr>
        <p:spPr/>
        <p:txBody>
          <a:bodyPr/>
          <a:lstStyle/>
          <a:p>
            <a:fld id="{9820729A-DF29-3241-AB9F-288B18FC5601}" type="datetime1">
              <a:rPr lang="en-US" smtClean="0"/>
              <a:t>11/28/2023</a:t>
            </a:fld>
            <a:endParaRPr lang="en-US"/>
          </a:p>
        </p:txBody>
      </p:sp>
      <p:sp>
        <p:nvSpPr>
          <p:cNvPr id="6" name="Footer Placeholder 5">
            <a:extLst>
              <a:ext uri="{FF2B5EF4-FFF2-40B4-BE49-F238E27FC236}">
                <a16:creationId xmlns:a16="http://schemas.microsoft.com/office/drawing/2014/main" id="{849F22BA-754A-BC37-4FF5-F43870A9F37B}"/>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220438F-0C16-2787-19CB-330C7F9CE3F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8" name="Chart Placeholder 10">
            <a:extLst>
              <a:ext uri="{FF2B5EF4-FFF2-40B4-BE49-F238E27FC236}">
                <a16:creationId xmlns:a16="http://schemas.microsoft.com/office/drawing/2014/main" id="{114D92DA-777E-050F-4053-DE9BB51C5602}"/>
              </a:ext>
            </a:extLst>
          </p:cNvPr>
          <p:cNvSpPr>
            <a:spLocks noGrp="1"/>
          </p:cNvSpPr>
          <p:nvPr>
            <p:ph type="chart" sz="quarter" idx="14" hasCustomPrompt="1"/>
          </p:nvPr>
        </p:nvSpPr>
        <p:spPr>
          <a:xfrm>
            <a:off x="5081588" y="1143000"/>
            <a:ext cx="6534429" cy="4572000"/>
          </a:xfrm>
          <a:pattFill prst="ltDnDiag">
            <a:fgClr>
              <a:schemeClr val="accent1"/>
            </a:fgClr>
            <a:bgClr>
              <a:schemeClr val="bg1"/>
            </a:bgClr>
          </a:pattFill>
        </p:spPr>
        <p:txBody>
          <a:bodyPr anchor="ctr"/>
          <a:lstStyle>
            <a:lvl1pPr algn="ctr">
              <a:defRPr/>
            </a:lvl1pPr>
          </a:lstStyle>
          <a:p>
            <a:r>
              <a:rPr lang="en-US"/>
              <a:t>Click to add chart</a:t>
            </a:r>
          </a:p>
        </p:txBody>
      </p:sp>
      <p:sp>
        <p:nvSpPr>
          <p:cNvPr id="10" name="Rectangle 9">
            <a:extLst>
              <a:ext uri="{FF2B5EF4-FFF2-40B4-BE49-F238E27FC236}">
                <a16:creationId xmlns:a16="http://schemas.microsoft.com/office/drawing/2014/main" id="{E59470E8-168F-0CC8-6CBF-AAD55C25D9F9}"/>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91831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4D93A-DEEF-4F19-B70E-2361033BA109}"/>
              </a:ext>
            </a:extLst>
          </p:cNvPr>
          <p:cNvSpPr>
            <a:spLocks noGrp="1"/>
          </p:cNvSpPr>
          <p:nvPr>
            <p:ph type="title" hasCustomPrompt="1"/>
          </p:nvPr>
        </p:nvSpPr>
        <p:spPr>
          <a:xfrm>
            <a:off x="588892" y="363219"/>
            <a:ext cx="8775771" cy="1351281"/>
          </a:xfrm>
        </p:spPr>
        <p:txBody>
          <a:bodyPr>
            <a:noAutofit/>
          </a:bodyPr>
          <a:lstStyle>
            <a:lvl1pPr>
              <a:defRPr/>
            </a:lvl1pPr>
          </a:lstStyle>
          <a:p>
            <a:r>
              <a:rPr lang="en-US"/>
              <a:t>Comparison charts layout: click to edit title</a:t>
            </a:r>
          </a:p>
        </p:txBody>
      </p:sp>
      <p:sp>
        <p:nvSpPr>
          <p:cNvPr id="3" name="Text Placeholder 2">
            <a:extLst>
              <a:ext uri="{FF2B5EF4-FFF2-40B4-BE49-F238E27FC236}">
                <a16:creationId xmlns:a16="http://schemas.microsoft.com/office/drawing/2014/main" id="{5816A6A4-ED62-7CDC-B957-B94153DDF888}"/>
              </a:ext>
            </a:extLst>
          </p:cNvPr>
          <p:cNvSpPr>
            <a:spLocks noGrp="1"/>
          </p:cNvSpPr>
          <p:nvPr>
            <p:ph type="body" idx="1" hasCustomPrompt="1"/>
          </p:nvPr>
        </p:nvSpPr>
        <p:spPr>
          <a:xfrm>
            <a:off x="588892" y="1943099"/>
            <a:ext cx="5392808" cy="561975"/>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heading</a:t>
            </a:r>
          </a:p>
        </p:txBody>
      </p:sp>
      <p:sp>
        <p:nvSpPr>
          <p:cNvPr id="5" name="Text Placeholder 4">
            <a:extLst>
              <a:ext uri="{FF2B5EF4-FFF2-40B4-BE49-F238E27FC236}">
                <a16:creationId xmlns:a16="http://schemas.microsoft.com/office/drawing/2014/main" id="{3429EAD9-5F60-BA73-1297-830544384B36}"/>
              </a:ext>
            </a:extLst>
          </p:cNvPr>
          <p:cNvSpPr>
            <a:spLocks noGrp="1"/>
          </p:cNvSpPr>
          <p:nvPr>
            <p:ph type="body" sz="quarter" idx="3" hasCustomPrompt="1"/>
          </p:nvPr>
        </p:nvSpPr>
        <p:spPr>
          <a:xfrm>
            <a:off x="6210302" y="1943099"/>
            <a:ext cx="5410198" cy="561975"/>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heading</a:t>
            </a:r>
          </a:p>
        </p:txBody>
      </p:sp>
      <p:sp>
        <p:nvSpPr>
          <p:cNvPr id="7" name="Date Placeholder 6">
            <a:extLst>
              <a:ext uri="{FF2B5EF4-FFF2-40B4-BE49-F238E27FC236}">
                <a16:creationId xmlns:a16="http://schemas.microsoft.com/office/drawing/2014/main" id="{7CF78584-FBAD-9723-6861-B153AF99940D}"/>
              </a:ext>
            </a:extLst>
          </p:cNvPr>
          <p:cNvSpPr>
            <a:spLocks noGrp="1"/>
          </p:cNvSpPr>
          <p:nvPr>
            <p:ph type="dt" sz="half" idx="10"/>
          </p:nvPr>
        </p:nvSpPr>
        <p:spPr/>
        <p:txBody>
          <a:bodyPr/>
          <a:lstStyle/>
          <a:p>
            <a:fld id="{758D409D-F642-3C42-B14F-447D37E579F8}" type="datetime1">
              <a:rPr lang="en-US" smtClean="0"/>
              <a:t>11/28/2023</a:t>
            </a:fld>
            <a:endParaRPr lang="en-US"/>
          </a:p>
        </p:txBody>
      </p:sp>
      <p:sp>
        <p:nvSpPr>
          <p:cNvPr id="8" name="Footer Placeholder 7">
            <a:extLst>
              <a:ext uri="{FF2B5EF4-FFF2-40B4-BE49-F238E27FC236}">
                <a16:creationId xmlns:a16="http://schemas.microsoft.com/office/drawing/2014/main" id="{D3E043E1-8A5F-11A9-7170-072F4A526665}"/>
              </a:ext>
            </a:extLst>
          </p:cNvPr>
          <p:cNvSpPr>
            <a:spLocks noGrp="1"/>
          </p:cNvSpPr>
          <p:nvPr>
            <p:ph type="ftr" sz="quarter" idx="11"/>
          </p:nvPr>
        </p:nvSpPr>
        <p:spPr/>
        <p:txBody>
          <a:bodyPr/>
          <a:lstStyle/>
          <a:p>
            <a:r>
              <a:rPr lang="en-US"/>
              <a:t>How to use this template</a:t>
            </a:r>
          </a:p>
        </p:txBody>
      </p:sp>
      <p:sp>
        <p:nvSpPr>
          <p:cNvPr id="9" name="Slide Number Placeholder 8">
            <a:extLst>
              <a:ext uri="{FF2B5EF4-FFF2-40B4-BE49-F238E27FC236}">
                <a16:creationId xmlns:a16="http://schemas.microsoft.com/office/drawing/2014/main" id="{3279CC91-AC2E-2F2E-A693-5198B32F94A7}"/>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11" name="Chart Placeholder 10">
            <a:extLst>
              <a:ext uri="{FF2B5EF4-FFF2-40B4-BE49-F238E27FC236}">
                <a16:creationId xmlns:a16="http://schemas.microsoft.com/office/drawing/2014/main" id="{200158D7-6C0B-4D14-3BC9-9EA281BAE958}"/>
              </a:ext>
            </a:extLst>
          </p:cNvPr>
          <p:cNvSpPr>
            <a:spLocks noGrp="1"/>
          </p:cNvSpPr>
          <p:nvPr>
            <p:ph type="chart" sz="quarter" idx="13" hasCustomPrompt="1"/>
          </p:nvPr>
        </p:nvSpPr>
        <p:spPr>
          <a:xfrm>
            <a:off x="588963" y="2743200"/>
            <a:ext cx="5392737" cy="2971800"/>
          </a:xfrm>
          <a:pattFill prst="ltDnDiag">
            <a:fgClr>
              <a:schemeClr val="accent1"/>
            </a:fgClr>
            <a:bgClr>
              <a:schemeClr val="bg1"/>
            </a:bgClr>
          </a:pattFill>
        </p:spPr>
        <p:txBody>
          <a:bodyPr anchor="ctr"/>
          <a:lstStyle>
            <a:lvl1pPr algn="ctr">
              <a:defRPr/>
            </a:lvl1pPr>
          </a:lstStyle>
          <a:p>
            <a:r>
              <a:rPr lang="en-US"/>
              <a:t>Click to add chart</a:t>
            </a:r>
          </a:p>
        </p:txBody>
      </p:sp>
      <p:sp>
        <p:nvSpPr>
          <p:cNvPr id="12" name="Chart Placeholder 10">
            <a:extLst>
              <a:ext uri="{FF2B5EF4-FFF2-40B4-BE49-F238E27FC236}">
                <a16:creationId xmlns:a16="http://schemas.microsoft.com/office/drawing/2014/main" id="{BB4EFA5E-A8CC-994C-FB1A-22993B1BB110}"/>
              </a:ext>
            </a:extLst>
          </p:cNvPr>
          <p:cNvSpPr>
            <a:spLocks noGrp="1"/>
          </p:cNvSpPr>
          <p:nvPr>
            <p:ph type="chart" sz="quarter" idx="14" hasCustomPrompt="1"/>
          </p:nvPr>
        </p:nvSpPr>
        <p:spPr>
          <a:xfrm>
            <a:off x="6223280" y="2743200"/>
            <a:ext cx="5392737" cy="2971800"/>
          </a:xfrm>
          <a:pattFill prst="ltDnDiag">
            <a:fgClr>
              <a:schemeClr val="accent1"/>
            </a:fgClr>
            <a:bgClr>
              <a:schemeClr val="bg1"/>
            </a:bgClr>
          </a:pattFill>
        </p:spPr>
        <p:txBody>
          <a:bodyPr anchor="ctr"/>
          <a:lstStyle>
            <a:lvl1pPr algn="ctr">
              <a:defRPr/>
            </a:lvl1pPr>
          </a:lstStyle>
          <a:p>
            <a:r>
              <a:rPr lang="en-US"/>
              <a:t>Click to add chart</a:t>
            </a:r>
          </a:p>
        </p:txBody>
      </p:sp>
      <p:sp>
        <p:nvSpPr>
          <p:cNvPr id="13" name="Rectangle 12">
            <a:extLst>
              <a:ext uri="{FF2B5EF4-FFF2-40B4-BE49-F238E27FC236}">
                <a16:creationId xmlns:a16="http://schemas.microsoft.com/office/drawing/2014/main" id="{C6B1DB10-A387-DFCC-15BB-C0E953B45867}"/>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20930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E8D251AB-4E51-0812-89E9-4BB2FBDC65C4}"/>
              </a:ext>
            </a:extLst>
          </p:cNvPr>
          <p:cNvSpPr>
            <a:spLocks noGrp="1"/>
          </p:cNvSpPr>
          <p:nvPr>
            <p:ph type="dt" sz="half" idx="10"/>
          </p:nvPr>
        </p:nvSpPr>
        <p:spPr/>
        <p:txBody>
          <a:bodyPr/>
          <a:lstStyle/>
          <a:p>
            <a:fld id="{1F0FB715-A726-0849-9792-DC550704C659}" type="datetime1">
              <a:rPr lang="en-US" smtClean="0"/>
              <a:t>11/28/2023</a:t>
            </a:fld>
            <a:endParaRPr lang="en-US"/>
          </a:p>
        </p:txBody>
      </p:sp>
      <p:sp>
        <p:nvSpPr>
          <p:cNvPr id="6" name="Footer Placeholder 5">
            <a:extLst>
              <a:ext uri="{FF2B5EF4-FFF2-40B4-BE49-F238E27FC236}">
                <a16:creationId xmlns:a16="http://schemas.microsoft.com/office/drawing/2014/main" id="{849F22BA-754A-BC37-4FF5-F43870A9F37B}"/>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220438F-0C16-2787-19CB-330C7F9CE3F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9" name="Table Placeholder 8">
            <a:extLst>
              <a:ext uri="{FF2B5EF4-FFF2-40B4-BE49-F238E27FC236}">
                <a16:creationId xmlns:a16="http://schemas.microsoft.com/office/drawing/2014/main" id="{53BDFB1B-F5A0-CC06-5973-82C749899A8A}"/>
              </a:ext>
            </a:extLst>
          </p:cNvPr>
          <p:cNvSpPr>
            <a:spLocks noGrp="1"/>
          </p:cNvSpPr>
          <p:nvPr>
            <p:ph type="tbl" sz="quarter" idx="13" hasCustomPrompt="1"/>
          </p:nvPr>
        </p:nvSpPr>
        <p:spPr>
          <a:xfrm>
            <a:off x="5081588" y="1143000"/>
            <a:ext cx="6538912" cy="4572000"/>
          </a:xfrm>
          <a:pattFill prst="dotGrid">
            <a:fgClr>
              <a:schemeClr val="accent1"/>
            </a:fgClr>
            <a:bgClr>
              <a:schemeClr val="bg1"/>
            </a:bgClr>
          </a:pattFill>
        </p:spPr>
        <p:txBody>
          <a:bodyPr anchor="ctr"/>
          <a:lstStyle>
            <a:lvl1pPr algn="ctr">
              <a:defRPr/>
            </a:lvl1pPr>
          </a:lstStyle>
          <a:p>
            <a:r>
              <a:rPr lang="en-US"/>
              <a:t>Click to add a table</a:t>
            </a:r>
          </a:p>
        </p:txBody>
      </p:sp>
      <p:sp>
        <p:nvSpPr>
          <p:cNvPr id="10" name="Title 1">
            <a:extLst>
              <a:ext uri="{FF2B5EF4-FFF2-40B4-BE49-F238E27FC236}">
                <a16:creationId xmlns:a16="http://schemas.microsoft.com/office/drawing/2014/main" id="{017B3E7C-16A8-37E9-931F-93464AAB8EA9}"/>
              </a:ext>
            </a:extLst>
          </p:cNvPr>
          <p:cNvSpPr>
            <a:spLocks noGrp="1"/>
          </p:cNvSpPr>
          <p:nvPr>
            <p:ph type="title" hasCustomPrompt="1"/>
          </p:nvPr>
        </p:nvSpPr>
        <p:spPr>
          <a:xfrm>
            <a:off x="571500" y="1143000"/>
            <a:ext cx="4281488" cy="1600200"/>
          </a:xfrm>
        </p:spPr>
        <p:txBody>
          <a:bodyPr anchor="b">
            <a:noAutofit/>
          </a:bodyPr>
          <a:lstStyle>
            <a:lvl1pPr>
              <a:defRPr sz="3200"/>
            </a:lvl1pPr>
          </a:lstStyle>
          <a:p>
            <a:r>
              <a:rPr lang="en-US"/>
              <a:t>Table: click to edit title</a:t>
            </a:r>
          </a:p>
        </p:txBody>
      </p:sp>
      <p:sp>
        <p:nvSpPr>
          <p:cNvPr id="11" name="Text Placeholder 3">
            <a:extLst>
              <a:ext uri="{FF2B5EF4-FFF2-40B4-BE49-F238E27FC236}">
                <a16:creationId xmlns:a16="http://schemas.microsoft.com/office/drawing/2014/main" id="{5C256EB3-0C85-0B22-A35F-1DDF1FF93DC6}"/>
              </a:ext>
            </a:extLst>
          </p:cNvPr>
          <p:cNvSpPr>
            <a:spLocks noGrp="1"/>
          </p:cNvSpPr>
          <p:nvPr>
            <p:ph type="body" sz="half" idx="2" hasCustomPrompt="1"/>
          </p:nvPr>
        </p:nvSpPr>
        <p:spPr>
          <a:xfrm>
            <a:off x="588892" y="2743200"/>
            <a:ext cx="4281488" cy="2971800"/>
          </a:xfrm>
        </p:spPr>
        <p:txBody>
          <a:bodyPr>
            <a:no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a:t>
            </a:r>
          </a:p>
        </p:txBody>
      </p:sp>
      <p:sp>
        <p:nvSpPr>
          <p:cNvPr id="12" name="Rectangle 11">
            <a:extLst>
              <a:ext uri="{FF2B5EF4-FFF2-40B4-BE49-F238E27FC236}">
                <a16:creationId xmlns:a16="http://schemas.microsoft.com/office/drawing/2014/main" id="{8839CBF0-B22D-3A76-73AE-F4ED2BF26736}"/>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20058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phic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A76FA-4F3F-86FC-6860-A2CD5B33C7C2}"/>
              </a:ext>
            </a:extLst>
          </p:cNvPr>
          <p:cNvSpPr>
            <a:spLocks noGrp="1"/>
          </p:cNvSpPr>
          <p:nvPr>
            <p:ph type="title" hasCustomPrompt="1"/>
          </p:nvPr>
        </p:nvSpPr>
        <p:spPr>
          <a:xfrm>
            <a:off x="571500" y="1143000"/>
            <a:ext cx="4281488" cy="1600200"/>
          </a:xfrm>
        </p:spPr>
        <p:txBody>
          <a:bodyPr anchor="b">
            <a:noAutofit/>
          </a:bodyPr>
          <a:lstStyle>
            <a:lvl1pPr>
              <a:defRPr sz="3200"/>
            </a:lvl1pPr>
          </a:lstStyle>
          <a:p>
            <a:r>
              <a:rPr lang="en-US"/>
              <a:t>Chart: click to edit title</a:t>
            </a:r>
          </a:p>
        </p:txBody>
      </p:sp>
      <p:sp>
        <p:nvSpPr>
          <p:cNvPr id="4" name="Text Placeholder 3">
            <a:extLst>
              <a:ext uri="{FF2B5EF4-FFF2-40B4-BE49-F238E27FC236}">
                <a16:creationId xmlns:a16="http://schemas.microsoft.com/office/drawing/2014/main" id="{A41DBE07-5B2A-695A-4135-8BAF43B380F4}"/>
              </a:ext>
            </a:extLst>
          </p:cNvPr>
          <p:cNvSpPr>
            <a:spLocks noGrp="1"/>
          </p:cNvSpPr>
          <p:nvPr>
            <p:ph type="body" sz="half" idx="2" hasCustomPrompt="1"/>
          </p:nvPr>
        </p:nvSpPr>
        <p:spPr>
          <a:xfrm>
            <a:off x="588892" y="2743200"/>
            <a:ext cx="4281488" cy="2971800"/>
          </a:xfrm>
        </p:spPr>
        <p:txBody>
          <a:bodyPr>
            <a:no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a:t>
            </a:r>
          </a:p>
        </p:txBody>
      </p:sp>
      <p:sp>
        <p:nvSpPr>
          <p:cNvPr id="5" name="Date Placeholder 4">
            <a:extLst>
              <a:ext uri="{FF2B5EF4-FFF2-40B4-BE49-F238E27FC236}">
                <a16:creationId xmlns:a16="http://schemas.microsoft.com/office/drawing/2014/main" id="{E8D251AB-4E51-0812-89E9-4BB2FBDC65C4}"/>
              </a:ext>
            </a:extLst>
          </p:cNvPr>
          <p:cNvSpPr>
            <a:spLocks noGrp="1"/>
          </p:cNvSpPr>
          <p:nvPr>
            <p:ph type="dt" sz="half" idx="10"/>
          </p:nvPr>
        </p:nvSpPr>
        <p:spPr/>
        <p:txBody>
          <a:bodyPr/>
          <a:lstStyle/>
          <a:p>
            <a:fld id="{591425C9-AC9D-1A47-9AF1-5E0DD907F04C}" type="datetime1">
              <a:rPr lang="en-US" smtClean="0"/>
              <a:t>11/28/2023</a:t>
            </a:fld>
            <a:endParaRPr lang="en-US"/>
          </a:p>
        </p:txBody>
      </p:sp>
      <p:sp>
        <p:nvSpPr>
          <p:cNvPr id="6" name="Footer Placeholder 5">
            <a:extLst>
              <a:ext uri="{FF2B5EF4-FFF2-40B4-BE49-F238E27FC236}">
                <a16:creationId xmlns:a16="http://schemas.microsoft.com/office/drawing/2014/main" id="{849F22BA-754A-BC37-4FF5-F43870A9F37B}"/>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220438F-0C16-2787-19CB-330C7F9CE3F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10" name="Rectangle 9">
            <a:extLst>
              <a:ext uri="{FF2B5EF4-FFF2-40B4-BE49-F238E27FC236}">
                <a16:creationId xmlns:a16="http://schemas.microsoft.com/office/drawing/2014/main" id="{E59470E8-168F-0CC8-6CBF-AAD55C25D9F9}"/>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martArt Placeholder 8">
            <a:extLst>
              <a:ext uri="{FF2B5EF4-FFF2-40B4-BE49-F238E27FC236}">
                <a16:creationId xmlns:a16="http://schemas.microsoft.com/office/drawing/2014/main" id="{4A9EC0CB-DA5A-79C3-6140-FA9312761B42}"/>
              </a:ext>
            </a:extLst>
          </p:cNvPr>
          <p:cNvSpPr>
            <a:spLocks noGrp="1"/>
          </p:cNvSpPr>
          <p:nvPr>
            <p:ph type="dgm" sz="quarter" idx="13" hasCustomPrompt="1"/>
          </p:nvPr>
        </p:nvSpPr>
        <p:spPr>
          <a:xfrm>
            <a:off x="5081588" y="1143000"/>
            <a:ext cx="6538912" cy="4572000"/>
          </a:xfrm>
          <a:pattFill prst="dashDnDiag">
            <a:fgClr>
              <a:schemeClr val="accent1"/>
            </a:fgClr>
            <a:bgClr>
              <a:schemeClr val="bg1"/>
            </a:bgClr>
          </a:pattFill>
        </p:spPr>
        <p:txBody>
          <a:bodyPr anchor="ctr">
            <a:normAutofit/>
          </a:bodyPr>
          <a:lstStyle>
            <a:lvl1pPr algn="ctr">
              <a:defRPr sz="2400"/>
            </a:lvl1pPr>
          </a:lstStyle>
          <a:p>
            <a:r>
              <a:rPr lang="en-US"/>
              <a:t>Click to add graphic/diagram</a:t>
            </a:r>
          </a:p>
        </p:txBody>
      </p:sp>
    </p:spTree>
    <p:extLst>
      <p:ext uri="{BB962C8B-B14F-4D97-AF65-F5344CB8AC3E}">
        <p14:creationId xmlns:p14="http://schemas.microsoft.com/office/powerpoint/2010/main" val="3630847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29A19-02B6-4398-9A69-495F903BC85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66F746E-2B25-4DB7-A428-C446904C6B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BA87C10-7DD4-455A-BD08-895443C0E40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BE23AD0-8756-4539-9DFC-1ABD7705EE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2CE2AF7-2D0C-4AEA-9F87-B1DD3323EF3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2FF278-6076-41A4-AEE9-D12E26FC6794}"/>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8" name="Footer Placeholder 7">
            <a:extLst>
              <a:ext uri="{FF2B5EF4-FFF2-40B4-BE49-F238E27FC236}">
                <a16:creationId xmlns:a16="http://schemas.microsoft.com/office/drawing/2014/main" id="{FE4DE55C-B447-481F-941F-DD79A16C3B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6AED2C4-F043-4BA2-9296-0282AA280434}"/>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16591305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F55E616-0A95-172D-8E19-0B7E802A2E6E}"/>
              </a:ext>
            </a:extLst>
          </p:cNvPr>
          <p:cNvSpPr>
            <a:spLocks noGrp="1"/>
          </p:cNvSpPr>
          <p:nvPr>
            <p:ph type="dt" sz="half" idx="10"/>
          </p:nvPr>
        </p:nvSpPr>
        <p:spPr/>
        <p:txBody>
          <a:bodyPr/>
          <a:lstStyle/>
          <a:p>
            <a:fld id="{A0B92CA4-5EC2-2048-B053-7AFE491F781A}" type="datetime1">
              <a:rPr lang="en-US" smtClean="0"/>
              <a:t>11/28/2023</a:t>
            </a:fld>
            <a:endParaRPr lang="en-US"/>
          </a:p>
        </p:txBody>
      </p:sp>
      <p:sp>
        <p:nvSpPr>
          <p:cNvPr id="6" name="Footer Placeholder 5">
            <a:extLst>
              <a:ext uri="{FF2B5EF4-FFF2-40B4-BE49-F238E27FC236}">
                <a16:creationId xmlns:a16="http://schemas.microsoft.com/office/drawing/2014/main" id="{31581F8A-6E6D-F3B0-41BC-429A3770F6C4}"/>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FDA53C3-B1DA-5472-4C11-E6F396DE344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2" name="Title 1">
            <a:extLst>
              <a:ext uri="{FF2B5EF4-FFF2-40B4-BE49-F238E27FC236}">
                <a16:creationId xmlns:a16="http://schemas.microsoft.com/office/drawing/2014/main" id="{DAA65946-B314-9472-B4C6-55E8CE7C5B2E}"/>
              </a:ext>
            </a:extLst>
          </p:cNvPr>
          <p:cNvSpPr>
            <a:spLocks noGrp="1"/>
          </p:cNvSpPr>
          <p:nvPr>
            <p:ph type="title" hasCustomPrompt="1"/>
          </p:nvPr>
        </p:nvSpPr>
        <p:spPr>
          <a:xfrm>
            <a:off x="588892" y="342899"/>
            <a:ext cx="8775772" cy="800101"/>
          </a:xfrm>
        </p:spPr>
        <p:txBody>
          <a:bodyPr anchor="b">
            <a:noAutofit/>
          </a:bodyPr>
          <a:lstStyle>
            <a:lvl1pPr>
              <a:defRPr sz="2400"/>
            </a:lvl1pPr>
          </a:lstStyle>
          <a:p>
            <a:r>
              <a:rPr lang="en-US"/>
              <a:t>Picture with title and subtitle/caption: click to edit title</a:t>
            </a:r>
          </a:p>
        </p:txBody>
      </p:sp>
      <p:sp>
        <p:nvSpPr>
          <p:cNvPr id="3" name="Text Placeholder 3">
            <a:extLst>
              <a:ext uri="{FF2B5EF4-FFF2-40B4-BE49-F238E27FC236}">
                <a16:creationId xmlns:a16="http://schemas.microsoft.com/office/drawing/2014/main" id="{51CFCC38-E529-9737-0EAE-8BCABF207C76}"/>
              </a:ext>
            </a:extLst>
          </p:cNvPr>
          <p:cNvSpPr>
            <a:spLocks noGrp="1"/>
          </p:cNvSpPr>
          <p:nvPr>
            <p:ph type="body" sz="half" idx="2" hasCustomPrompt="1"/>
          </p:nvPr>
        </p:nvSpPr>
        <p:spPr>
          <a:xfrm>
            <a:off x="571499" y="1143000"/>
            <a:ext cx="8793164" cy="571500"/>
          </a:xfrm>
        </p:spPr>
        <p:txBody>
          <a:bodyPr>
            <a:no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subtitle/caption</a:t>
            </a:r>
          </a:p>
        </p:txBody>
      </p:sp>
      <p:sp>
        <p:nvSpPr>
          <p:cNvPr id="9" name="Media Placeholder 8">
            <a:extLst>
              <a:ext uri="{FF2B5EF4-FFF2-40B4-BE49-F238E27FC236}">
                <a16:creationId xmlns:a16="http://schemas.microsoft.com/office/drawing/2014/main" id="{07895B25-E1C8-971B-1A44-E75813C79CA1}"/>
              </a:ext>
            </a:extLst>
          </p:cNvPr>
          <p:cNvSpPr>
            <a:spLocks noGrp="1"/>
          </p:cNvSpPr>
          <p:nvPr>
            <p:ph type="media" sz="quarter" idx="13" hasCustomPrompt="1"/>
          </p:nvPr>
        </p:nvSpPr>
        <p:spPr>
          <a:xfrm>
            <a:off x="571500" y="1943100"/>
            <a:ext cx="9920288" cy="4914900"/>
          </a:xfrm>
          <a:pattFill prst="wdUpDiag">
            <a:fgClr>
              <a:schemeClr val="accent1">
                <a:lumMod val="40000"/>
                <a:lumOff val="60000"/>
              </a:schemeClr>
            </a:fgClr>
            <a:bgClr>
              <a:schemeClr val="bg1"/>
            </a:bgClr>
          </a:pattFill>
        </p:spPr>
        <p:txBody>
          <a:bodyPr anchor="ctr"/>
          <a:lstStyle>
            <a:lvl1pPr algn="ctr">
              <a:defRPr/>
            </a:lvl1pPr>
          </a:lstStyle>
          <a:p>
            <a:r>
              <a:rPr lang="en-US"/>
              <a:t>Click to add a video</a:t>
            </a:r>
          </a:p>
        </p:txBody>
      </p:sp>
    </p:spTree>
    <p:extLst>
      <p:ext uri="{BB962C8B-B14F-4D97-AF65-F5344CB8AC3E}">
        <p14:creationId xmlns:p14="http://schemas.microsoft.com/office/powerpoint/2010/main" val="24402943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A76FA-4F3F-86FC-6860-A2CD5B33C7C2}"/>
              </a:ext>
            </a:extLst>
          </p:cNvPr>
          <p:cNvSpPr>
            <a:spLocks noGrp="1"/>
          </p:cNvSpPr>
          <p:nvPr>
            <p:ph type="title" hasCustomPrompt="1"/>
          </p:nvPr>
        </p:nvSpPr>
        <p:spPr>
          <a:xfrm>
            <a:off x="571500" y="1143000"/>
            <a:ext cx="4281488" cy="1600200"/>
          </a:xfrm>
        </p:spPr>
        <p:txBody>
          <a:bodyPr anchor="b">
            <a:noAutofit/>
          </a:bodyPr>
          <a:lstStyle>
            <a:lvl1pPr>
              <a:defRPr sz="3200"/>
            </a:lvl1pPr>
          </a:lstStyle>
          <a:p>
            <a:r>
              <a:rPr lang="en-US"/>
              <a:t>Chart: click to edit title</a:t>
            </a:r>
          </a:p>
        </p:txBody>
      </p:sp>
      <p:sp>
        <p:nvSpPr>
          <p:cNvPr id="4" name="Text Placeholder 3">
            <a:extLst>
              <a:ext uri="{FF2B5EF4-FFF2-40B4-BE49-F238E27FC236}">
                <a16:creationId xmlns:a16="http://schemas.microsoft.com/office/drawing/2014/main" id="{A41DBE07-5B2A-695A-4135-8BAF43B380F4}"/>
              </a:ext>
            </a:extLst>
          </p:cNvPr>
          <p:cNvSpPr>
            <a:spLocks noGrp="1"/>
          </p:cNvSpPr>
          <p:nvPr>
            <p:ph type="body" sz="half" idx="2" hasCustomPrompt="1"/>
          </p:nvPr>
        </p:nvSpPr>
        <p:spPr>
          <a:xfrm>
            <a:off x="588892" y="2743200"/>
            <a:ext cx="4281488" cy="2971800"/>
          </a:xfrm>
        </p:spPr>
        <p:txBody>
          <a:bodyPr>
            <a:no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a:t>
            </a:r>
          </a:p>
        </p:txBody>
      </p:sp>
      <p:sp>
        <p:nvSpPr>
          <p:cNvPr id="5" name="Date Placeholder 4">
            <a:extLst>
              <a:ext uri="{FF2B5EF4-FFF2-40B4-BE49-F238E27FC236}">
                <a16:creationId xmlns:a16="http://schemas.microsoft.com/office/drawing/2014/main" id="{E8D251AB-4E51-0812-89E9-4BB2FBDC65C4}"/>
              </a:ext>
            </a:extLst>
          </p:cNvPr>
          <p:cNvSpPr>
            <a:spLocks noGrp="1"/>
          </p:cNvSpPr>
          <p:nvPr>
            <p:ph type="dt" sz="half" idx="10"/>
          </p:nvPr>
        </p:nvSpPr>
        <p:spPr/>
        <p:txBody>
          <a:bodyPr/>
          <a:lstStyle/>
          <a:p>
            <a:fld id="{64943415-F73D-0A4A-9482-E9C0A58BC117}" type="datetime1">
              <a:rPr lang="en-US" smtClean="0"/>
              <a:t>11/28/2023</a:t>
            </a:fld>
            <a:endParaRPr lang="en-US"/>
          </a:p>
        </p:txBody>
      </p:sp>
      <p:sp>
        <p:nvSpPr>
          <p:cNvPr id="6" name="Footer Placeholder 5">
            <a:extLst>
              <a:ext uri="{FF2B5EF4-FFF2-40B4-BE49-F238E27FC236}">
                <a16:creationId xmlns:a16="http://schemas.microsoft.com/office/drawing/2014/main" id="{849F22BA-754A-BC37-4FF5-F43870A9F37B}"/>
              </a:ext>
            </a:extLst>
          </p:cNvPr>
          <p:cNvSpPr>
            <a:spLocks noGrp="1"/>
          </p:cNvSpPr>
          <p:nvPr>
            <p:ph type="ftr" sz="quarter" idx="11"/>
          </p:nvPr>
        </p:nvSpPr>
        <p:spPr/>
        <p:txBody>
          <a:bodyPr/>
          <a:lstStyle/>
          <a:p>
            <a:r>
              <a:rPr lang="en-US"/>
              <a:t>How to use this template</a:t>
            </a:r>
          </a:p>
        </p:txBody>
      </p:sp>
      <p:sp>
        <p:nvSpPr>
          <p:cNvPr id="7" name="Slide Number Placeholder 6">
            <a:extLst>
              <a:ext uri="{FF2B5EF4-FFF2-40B4-BE49-F238E27FC236}">
                <a16:creationId xmlns:a16="http://schemas.microsoft.com/office/drawing/2014/main" id="{D220438F-0C16-2787-19CB-330C7F9CE3F0}"/>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10" name="Rectangle 9">
            <a:extLst>
              <a:ext uri="{FF2B5EF4-FFF2-40B4-BE49-F238E27FC236}">
                <a16:creationId xmlns:a16="http://schemas.microsoft.com/office/drawing/2014/main" id="{E59470E8-168F-0CC8-6CBF-AAD55C25D9F9}"/>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BDEA600C-0BE2-AD94-C2A4-172CCD741071}"/>
              </a:ext>
            </a:extLst>
          </p:cNvPr>
          <p:cNvSpPr>
            <a:spLocks noGrp="1"/>
          </p:cNvSpPr>
          <p:nvPr>
            <p:ph sz="quarter" idx="13" hasCustomPrompt="1"/>
          </p:nvPr>
        </p:nvSpPr>
        <p:spPr>
          <a:xfrm>
            <a:off x="5081588" y="1143000"/>
            <a:ext cx="6538912" cy="4572000"/>
          </a:xfrm>
          <a:pattFill prst="dotDmnd">
            <a:fgClr>
              <a:schemeClr val="tx2"/>
            </a:fgClr>
            <a:bgClr>
              <a:schemeClr val="bg1"/>
            </a:bgClr>
          </a:pattFill>
        </p:spPr>
        <p:txBody>
          <a:bodyPr anchor="ctr">
            <a:normAutofit/>
          </a:bodyPr>
          <a:lstStyle>
            <a:lvl1pPr algn="ctr">
              <a:defRPr sz="1800"/>
            </a:lvl1pPr>
          </a:lstStyle>
          <a:p>
            <a:pPr lvl="0"/>
            <a:r>
              <a:rPr lang="en-US"/>
              <a:t>Click to add chart, table, video or picture</a:t>
            </a:r>
          </a:p>
        </p:txBody>
      </p:sp>
    </p:spTree>
    <p:extLst>
      <p:ext uri="{BB962C8B-B14F-4D97-AF65-F5344CB8AC3E}">
        <p14:creationId xmlns:p14="http://schemas.microsoft.com/office/powerpoint/2010/main" val="2625912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E760C60-253C-77DB-5DFD-EC01AB77271A}"/>
              </a:ext>
            </a:extLst>
          </p:cNvPr>
          <p:cNvSpPr>
            <a:spLocks noGrp="1"/>
          </p:cNvSpPr>
          <p:nvPr>
            <p:ph type="dt" sz="half" idx="10"/>
          </p:nvPr>
        </p:nvSpPr>
        <p:spPr/>
        <p:txBody>
          <a:bodyPr/>
          <a:lstStyle/>
          <a:p>
            <a:fld id="{26AFAA08-E328-B941-8FF0-9563B3F2CE81}" type="datetime1">
              <a:rPr lang="en-US" smtClean="0"/>
              <a:t>11/28/2023</a:t>
            </a:fld>
            <a:endParaRPr lang="en-US"/>
          </a:p>
        </p:txBody>
      </p:sp>
      <p:sp>
        <p:nvSpPr>
          <p:cNvPr id="3" name="Footer Placeholder 2">
            <a:extLst>
              <a:ext uri="{FF2B5EF4-FFF2-40B4-BE49-F238E27FC236}">
                <a16:creationId xmlns:a16="http://schemas.microsoft.com/office/drawing/2014/main" id="{E0A364D3-B6E3-8E97-A9AC-4638CFBE5DA9}"/>
              </a:ext>
            </a:extLst>
          </p:cNvPr>
          <p:cNvSpPr>
            <a:spLocks noGrp="1"/>
          </p:cNvSpPr>
          <p:nvPr>
            <p:ph type="ftr" sz="quarter" idx="11"/>
          </p:nvPr>
        </p:nvSpPr>
        <p:spPr/>
        <p:txBody>
          <a:bodyPr/>
          <a:lstStyle/>
          <a:p>
            <a:r>
              <a:rPr lang="en-US"/>
              <a:t>How to use this template</a:t>
            </a:r>
          </a:p>
        </p:txBody>
      </p:sp>
      <p:sp>
        <p:nvSpPr>
          <p:cNvPr id="4" name="Slide Number Placeholder 3">
            <a:extLst>
              <a:ext uri="{FF2B5EF4-FFF2-40B4-BE49-F238E27FC236}">
                <a16:creationId xmlns:a16="http://schemas.microsoft.com/office/drawing/2014/main" id="{340526E4-1935-1D8E-46C5-1D2FEF89160C}"/>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5" name="Rectangle 4">
            <a:extLst>
              <a:ext uri="{FF2B5EF4-FFF2-40B4-BE49-F238E27FC236}">
                <a16:creationId xmlns:a16="http://schemas.microsoft.com/office/drawing/2014/main" id="{EEF30CBD-6F93-9D75-0E4A-AB8B5EC93267}"/>
              </a:ext>
            </a:extLst>
          </p:cNvPr>
          <p:cNvSpPr/>
          <p:nvPr userDrawn="1"/>
        </p:nvSpPr>
        <p:spPr>
          <a:xfrm>
            <a:off x="588892" y="0"/>
            <a:ext cx="11031608" cy="3429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99424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in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59257CD-4724-171E-15AC-03AEE565C551}"/>
              </a:ext>
            </a:extLst>
          </p:cNvPr>
          <p:cNvSpPr>
            <a:spLocks noGrp="1"/>
          </p:cNvSpPr>
          <p:nvPr>
            <p:ph type="dt" sz="half" idx="10"/>
          </p:nvPr>
        </p:nvSpPr>
        <p:spPr/>
        <p:txBody>
          <a:bodyPr/>
          <a:lstStyle/>
          <a:p>
            <a:fld id="{DCC51ADB-6EF1-6746-816D-7699AB7ECAAF}" type="datetime1">
              <a:rPr lang="en-US" smtClean="0"/>
              <a:t>11/28/2023</a:t>
            </a:fld>
            <a:endParaRPr lang="en-US"/>
          </a:p>
        </p:txBody>
      </p:sp>
      <p:sp>
        <p:nvSpPr>
          <p:cNvPr id="5" name="Footer Placeholder 4">
            <a:extLst>
              <a:ext uri="{FF2B5EF4-FFF2-40B4-BE49-F238E27FC236}">
                <a16:creationId xmlns:a16="http://schemas.microsoft.com/office/drawing/2014/main" id="{5240C8BA-5E97-D332-590A-A74206810525}"/>
              </a:ext>
            </a:extLst>
          </p:cNvPr>
          <p:cNvSpPr>
            <a:spLocks noGrp="1"/>
          </p:cNvSpPr>
          <p:nvPr>
            <p:ph type="ftr" sz="quarter" idx="11"/>
          </p:nvPr>
        </p:nvSpPr>
        <p:spPr/>
        <p:txBody>
          <a:bodyPr/>
          <a:lstStyle/>
          <a:p>
            <a:r>
              <a:rPr lang="en-US"/>
              <a:t>How to use this template</a:t>
            </a:r>
          </a:p>
        </p:txBody>
      </p:sp>
      <p:sp>
        <p:nvSpPr>
          <p:cNvPr id="6" name="Slide Number Placeholder 5">
            <a:extLst>
              <a:ext uri="{FF2B5EF4-FFF2-40B4-BE49-F238E27FC236}">
                <a16:creationId xmlns:a16="http://schemas.microsoft.com/office/drawing/2014/main" id="{0ECC7067-79E6-5E4A-2A26-6F95B13EE503}"/>
              </a:ext>
            </a:extLst>
          </p:cNvPr>
          <p:cNvSpPr>
            <a:spLocks noGrp="1"/>
          </p:cNvSpPr>
          <p:nvPr>
            <p:ph type="sldNum" sz="quarter" idx="12"/>
          </p:nvPr>
        </p:nvSpPr>
        <p:spPr/>
        <p:txBody>
          <a:bodyPr/>
          <a:lstStyle/>
          <a:p>
            <a:fld id="{3AEF997A-A681-BA4B-BE23-60D9BF002CFB}" type="slidenum">
              <a:rPr lang="en-US" smtClean="0"/>
              <a:t>‹#›</a:t>
            </a:fld>
            <a:endParaRPr lang="en-US"/>
          </a:p>
        </p:txBody>
      </p:sp>
      <p:sp>
        <p:nvSpPr>
          <p:cNvPr id="7" name="Rectangle 6">
            <a:extLst>
              <a:ext uri="{FF2B5EF4-FFF2-40B4-BE49-F238E27FC236}">
                <a16:creationId xmlns:a16="http://schemas.microsoft.com/office/drawing/2014/main" id="{F85AE89B-0627-AC1E-FB7B-419A15C997A6}"/>
              </a:ext>
            </a:extLst>
          </p:cNvPr>
          <p:cNvSpPr/>
          <p:nvPr userDrawn="1"/>
        </p:nvSpPr>
        <p:spPr>
          <a:xfrm>
            <a:off x="588892" y="3543300"/>
            <a:ext cx="11031608" cy="33147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947CB1F-9039-C2E9-D0A2-7F214E7D71D8}"/>
              </a:ext>
            </a:extLst>
          </p:cNvPr>
          <p:cNvSpPr>
            <a:spLocks noGrp="1"/>
          </p:cNvSpPr>
          <p:nvPr>
            <p:ph type="title" hasCustomPrompt="1"/>
          </p:nvPr>
        </p:nvSpPr>
        <p:spPr>
          <a:xfrm>
            <a:off x="588892" y="1153048"/>
            <a:ext cx="5392808" cy="2161652"/>
          </a:xfrm>
        </p:spPr>
        <p:txBody>
          <a:bodyPr anchor="b">
            <a:noAutofit/>
          </a:bodyPr>
          <a:lstStyle>
            <a:lvl1pPr>
              <a:defRPr sz="3200"/>
            </a:lvl1pPr>
          </a:lstStyle>
          <a:p>
            <a:r>
              <a:rPr lang="en-US"/>
              <a:t>Thank you</a:t>
            </a:r>
          </a:p>
        </p:txBody>
      </p:sp>
      <p:sp>
        <p:nvSpPr>
          <p:cNvPr id="10" name="Freeform 9">
            <a:extLst>
              <a:ext uri="{FF2B5EF4-FFF2-40B4-BE49-F238E27FC236}">
                <a16:creationId xmlns:a16="http://schemas.microsoft.com/office/drawing/2014/main" id="{6182A6DC-31F3-A6D1-3781-B491732805C6}"/>
              </a:ext>
            </a:extLst>
          </p:cNvPr>
          <p:cNvSpPr/>
          <p:nvPr/>
        </p:nvSpPr>
        <p:spPr>
          <a:xfrm>
            <a:off x="829122" y="5935309"/>
            <a:ext cx="721004" cy="601397"/>
          </a:xfrm>
          <a:custGeom>
            <a:avLst/>
            <a:gdLst>
              <a:gd name="connsiteX0" fmla="*/ 586884 w 736968"/>
              <a:gd name="connsiteY0" fmla="*/ 559057 h 614713"/>
              <a:gd name="connsiteX1" fmla="*/ 587869 w 736968"/>
              <a:gd name="connsiteY1" fmla="*/ 559556 h 614713"/>
              <a:gd name="connsiteX2" fmla="*/ 540711 w 736968"/>
              <a:gd name="connsiteY2" fmla="*/ 587411 h 614713"/>
              <a:gd name="connsiteX3" fmla="*/ 503480 w 736968"/>
              <a:gd name="connsiteY3" fmla="*/ 590061 h 614713"/>
              <a:gd name="connsiteX4" fmla="*/ 450805 w 736968"/>
              <a:gd name="connsiteY4" fmla="*/ 569540 h 614713"/>
              <a:gd name="connsiteX5" fmla="*/ 422114 w 736968"/>
              <a:gd name="connsiteY5" fmla="*/ 550259 h 614713"/>
              <a:gd name="connsiteX6" fmla="*/ 386381 w 736968"/>
              <a:gd name="connsiteY6" fmla="*/ 543521 h 614713"/>
              <a:gd name="connsiteX7" fmla="*/ 385772 w 736968"/>
              <a:gd name="connsiteY7" fmla="*/ 548099 h 614713"/>
              <a:gd name="connsiteX8" fmla="*/ 433943 w 736968"/>
              <a:gd name="connsiteY8" fmla="*/ 578037 h 614713"/>
              <a:gd name="connsiteX9" fmla="*/ 462359 w 736968"/>
              <a:gd name="connsiteY9" fmla="*/ 603058 h 614713"/>
              <a:gd name="connsiteX10" fmla="*/ 448738 w 736968"/>
              <a:gd name="connsiteY10" fmla="*/ 614714 h 614713"/>
              <a:gd name="connsiteX11" fmla="*/ 433814 w 736968"/>
              <a:gd name="connsiteY11" fmla="*/ 598553 h 614713"/>
              <a:gd name="connsiteX12" fmla="*/ 371602 w 736968"/>
              <a:gd name="connsiteY12" fmla="*/ 550414 h 614713"/>
              <a:gd name="connsiteX13" fmla="*/ 368540 w 736968"/>
              <a:gd name="connsiteY13" fmla="*/ 549256 h 614713"/>
              <a:gd name="connsiteX14" fmla="*/ 365479 w 736968"/>
              <a:gd name="connsiteY14" fmla="*/ 550414 h 614713"/>
              <a:gd name="connsiteX15" fmla="*/ 303259 w 736968"/>
              <a:gd name="connsiteY15" fmla="*/ 598553 h 614713"/>
              <a:gd name="connsiteX16" fmla="*/ 288343 w 736968"/>
              <a:gd name="connsiteY16" fmla="*/ 614714 h 614713"/>
              <a:gd name="connsiteX17" fmla="*/ 274713 w 736968"/>
              <a:gd name="connsiteY17" fmla="*/ 603058 h 614713"/>
              <a:gd name="connsiteX18" fmla="*/ 303139 w 736968"/>
              <a:gd name="connsiteY18" fmla="*/ 578037 h 614713"/>
              <a:gd name="connsiteX19" fmla="*/ 351309 w 736968"/>
              <a:gd name="connsiteY19" fmla="*/ 548099 h 614713"/>
              <a:gd name="connsiteX20" fmla="*/ 350700 w 736968"/>
              <a:gd name="connsiteY20" fmla="*/ 543521 h 614713"/>
              <a:gd name="connsiteX21" fmla="*/ 314967 w 736968"/>
              <a:gd name="connsiteY21" fmla="*/ 550259 h 614713"/>
              <a:gd name="connsiteX22" fmla="*/ 286267 w 736968"/>
              <a:gd name="connsiteY22" fmla="*/ 569540 h 614713"/>
              <a:gd name="connsiteX23" fmla="*/ 233594 w 736968"/>
              <a:gd name="connsiteY23" fmla="*/ 590061 h 614713"/>
              <a:gd name="connsiteX24" fmla="*/ 196368 w 736968"/>
              <a:gd name="connsiteY24" fmla="*/ 587411 h 614713"/>
              <a:gd name="connsiteX25" fmla="*/ 149168 w 736968"/>
              <a:gd name="connsiteY25" fmla="*/ 559498 h 614713"/>
              <a:gd name="connsiteX26" fmla="*/ 150197 w 736968"/>
              <a:gd name="connsiteY26" fmla="*/ 559057 h 614713"/>
              <a:gd name="connsiteX27" fmla="*/ 153148 w 736968"/>
              <a:gd name="connsiteY27" fmla="*/ 560500 h 614713"/>
              <a:gd name="connsiteX28" fmla="*/ 215727 w 736968"/>
              <a:gd name="connsiteY28" fmla="*/ 567791 h 614713"/>
              <a:gd name="connsiteX29" fmla="*/ 257919 w 736968"/>
              <a:gd name="connsiteY29" fmla="*/ 553190 h 614713"/>
              <a:gd name="connsiteX30" fmla="*/ 287605 w 736968"/>
              <a:gd name="connsiteY30" fmla="*/ 541036 h 614713"/>
              <a:gd name="connsiteX31" fmla="*/ 367185 w 736968"/>
              <a:gd name="connsiteY31" fmla="*/ 539248 h 614713"/>
              <a:gd name="connsiteX32" fmla="*/ 368541 w 736968"/>
              <a:gd name="connsiteY32" fmla="*/ 539485 h 614713"/>
              <a:gd name="connsiteX33" fmla="*/ 369896 w 736968"/>
              <a:gd name="connsiteY33" fmla="*/ 539248 h 614713"/>
              <a:gd name="connsiteX34" fmla="*/ 449476 w 736968"/>
              <a:gd name="connsiteY34" fmla="*/ 541036 h 614713"/>
              <a:gd name="connsiteX35" fmla="*/ 479162 w 736968"/>
              <a:gd name="connsiteY35" fmla="*/ 553190 h 614713"/>
              <a:gd name="connsiteX36" fmla="*/ 521354 w 736968"/>
              <a:gd name="connsiteY36" fmla="*/ 567791 h 614713"/>
              <a:gd name="connsiteX37" fmla="*/ 583936 w 736968"/>
              <a:gd name="connsiteY37" fmla="*/ 560500 h 614713"/>
              <a:gd name="connsiteX38" fmla="*/ 586884 w 736968"/>
              <a:gd name="connsiteY38" fmla="*/ 559057 h 614713"/>
              <a:gd name="connsiteX39" fmla="*/ 649912 w 736968"/>
              <a:gd name="connsiteY39" fmla="*/ 501893 h 614713"/>
              <a:gd name="connsiteX40" fmla="*/ 621647 w 736968"/>
              <a:gd name="connsiteY40" fmla="*/ 516814 h 614713"/>
              <a:gd name="connsiteX41" fmla="*/ 577167 w 736968"/>
              <a:gd name="connsiteY41" fmla="*/ 523465 h 614713"/>
              <a:gd name="connsiteX42" fmla="*/ 519133 w 736968"/>
              <a:gd name="connsiteY42" fmla="*/ 528484 h 614713"/>
              <a:gd name="connsiteX43" fmla="*/ 518822 w 736968"/>
              <a:gd name="connsiteY43" fmla="*/ 528537 h 614713"/>
              <a:gd name="connsiteX44" fmla="*/ 517440 w 736968"/>
              <a:gd name="connsiteY44" fmla="*/ 527801 h 614713"/>
              <a:gd name="connsiteX45" fmla="*/ 517731 w 736968"/>
              <a:gd name="connsiteY45" fmla="*/ 527602 h 614713"/>
              <a:gd name="connsiteX46" fmla="*/ 555603 w 736968"/>
              <a:gd name="connsiteY46" fmla="*/ 491071 h 614713"/>
              <a:gd name="connsiteX47" fmla="*/ 574543 w 736968"/>
              <a:gd name="connsiteY47" fmla="*/ 452957 h 614713"/>
              <a:gd name="connsiteX48" fmla="*/ 574354 w 736968"/>
              <a:gd name="connsiteY48" fmla="*/ 451980 h 614713"/>
              <a:gd name="connsiteX49" fmla="*/ 545381 w 736968"/>
              <a:gd name="connsiteY49" fmla="*/ 476599 h 614713"/>
              <a:gd name="connsiteX50" fmla="*/ 513857 w 736968"/>
              <a:gd name="connsiteY50" fmla="*/ 507120 h 614713"/>
              <a:gd name="connsiteX51" fmla="*/ 464298 w 736968"/>
              <a:gd name="connsiteY51" fmla="*/ 532384 h 614713"/>
              <a:gd name="connsiteX52" fmla="*/ 463611 w 736968"/>
              <a:gd name="connsiteY52" fmla="*/ 532694 h 614713"/>
              <a:gd name="connsiteX53" fmla="*/ 463174 w 736968"/>
              <a:gd name="connsiteY53" fmla="*/ 533478 h 614713"/>
              <a:gd name="connsiteX54" fmla="*/ 463242 w 736968"/>
              <a:gd name="connsiteY54" fmla="*/ 533590 h 614713"/>
              <a:gd name="connsiteX55" fmla="*/ 463637 w 736968"/>
              <a:gd name="connsiteY55" fmla="*/ 533687 h 614713"/>
              <a:gd name="connsiteX56" fmla="*/ 499979 w 736968"/>
              <a:gd name="connsiteY56" fmla="*/ 542145 h 614713"/>
              <a:gd name="connsiteX57" fmla="*/ 546836 w 736968"/>
              <a:gd name="connsiteY57" fmla="*/ 550860 h 614713"/>
              <a:gd name="connsiteX58" fmla="*/ 597470 w 736968"/>
              <a:gd name="connsiteY58" fmla="*/ 544267 h 614713"/>
              <a:gd name="connsiteX59" fmla="*/ 651188 w 736968"/>
              <a:gd name="connsiteY59" fmla="*/ 502082 h 614713"/>
              <a:gd name="connsiteX60" fmla="*/ 651222 w 736968"/>
              <a:gd name="connsiteY60" fmla="*/ 501927 h 614713"/>
              <a:gd name="connsiteX61" fmla="*/ 649912 w 736968"/>
              <a:gd name="connsiteY61" fmla="*/ 501893 h 614713"/>
              <a:gd name="connsiteX62" fmla="*/ 708819 w 736968"/>
              <a:gd name="connsiteY62" fmla="*/ 411663 h 614713"/>
              <a:gd name="connsiteX63" fmla="*/ 675040 w 736968"/>
              <a:gd name="connsiteY63" fmla="*/ 441106 h 614713"/>
              <a:gd name="connsiteX64" fmla="*/ 640345 w 736968"/>
              <a:gd name="connsiteY64" fmla="*/ 460001 h 614713"/>
              <a:gd name="connsiteX65" fmla="*/ 597736 w 736968"/>
              <a:gd name="connsiteY65" fmla="*/ 485005 h 614713"/>
              <a:gd name="connsiteX66" fmla="*/ 595273 w 736968"/>
              <a:gd name="connsiteY66" fmla="*/ 486900 h 614713"/>
              <a:gd name="connsiteX67" fmla="*/ 594851 w 736968"/>
              <a:gd name="connsiteY67" fmla="*/ 486061 h 614713"/>
              <a:gd name="connsiteX68" fmla="*/ 621075 w 736968"/>
              <a:gd name="connsiteY68" fmla="*/ 422571 h 614713"/>
              <a:gd name="connsiteX69" fmla="*/ 628252 w 736968"/>
              <a:gd name="connsiteY69" fmla="*/ 377293 h 614713"/>
              <a:gd name="connsiteX70" fmla="*/ 627951 w 736968"/>
              <a:gd name="connsiteY70" fmla="*/ 376127 h 614713"/>
              <a:gd name="connsiteX71" fmla="*/ 627772 w 736968"/>
              <a:gd name="connsiteY71" fmla="*/ 376213 h 614713"/>
              <a:gd name="connsiteX72" fmla="*/ 595695 w 736968"/>
              <a:gd name="connsiteY72" fmla="*/ 434440 h 614713"/>
              <a:gd name="connsiteX73" fmla="*/ 583824 w 736968"/>
              <a:gd name="connsiteY73" fmla="*/ 468535 h 614713"/>
              <a:gd name="connsiteX74" fmla="*/ 559147 w 736968"/>
              <a:gd name="connsiteY74" fmla="*/ 509968 h 614713"/>
              <a:gd name="connsiteX75" fmla="*/ 558081 w 736968"/>
              <a:gd name="connsiteY75" fmla="*/ 511083 h 614713"/>
              <a:gd name="connsiteX76" fmla="*/ 557887 w 736968"/>
              <a:gd name="connsiteY76" fmla="*/ 511785 h 614713"/>
              <a:gd name="connsiteX77" fmla="*/ 557979 w 736968"/>
              <a:gd name="connsiteY77" fmla="*/ 511901 h 614713"/>
              <a:gd name="connsiteX78" fmla="*/ 561863 w 736968"/>
              <a:gd name="connsiteY78" fmla="*/ 511218 h 614713"/>
              <a:gd name="connsiteX79" fmla="*/ 601334 w 736968"/>
              <a:gd name="connsiteY79" fmla="*/ 503152 h 614713"/>
              <a:gd name="connsiteX80" fmla="*/ 660605 w 736968"/>
              <a:gd name="connsiteY80" fmla="*/ 477953 h 614713"/>
              <a:gd name="connsiteX81" fmla="*/ 703485 w 736968"/>
              <a:gd name="connsiteY81" fmla="*/ 427832 h 614713"/>
              <a:gd name="connsiteX82" fmla="*/ 710046 w 736968"/>
              <a:gd name="connsiteY82" fmla="*/ 411501 h 614713"/>
              <a:gd name="connsiteX83" fmla="*/ 708819 w 736968"/>
              <a:gd name="connsiteY83" fmla="*/ 411663 h 614713"/>
              <a:gd name="connsiteX84" fmla="*/ 734621 w 736968"/>
              <a:gd name="connsiteY84" fmla="*/ 310240 h 614713"/>
              <a:gd name="connsiteX85" fmla="*/ 703698 w 736968"/>
              <a:gd name="connsiteY85" fmla="*/ 358724 h 614713"/>
              <a:gd name="connsiteX86" fmla="*/ 658917 w 736968"/>
              <a:gd name="connsiteY86" fmla="*/ 409606 h 614713"/>
              <a:gd name="connsiteX87" fmla="*/ 658137 w 736968"/>
              <a:gd name="connsiteY87" fmla="*/ 409050 h 614713"/>
              <a:gd name="connsiteX88" fmla="*/ 662297 w 736968"/>
              <a:gd name="connsiteY88" fmla="*/ 351834 h 614713"/>
              <a:gd name="connsiteX89" fmla="*/ 650887 w 736968"/>
              <a:gd name="connsiteY89" fmla="*/ 298261 h 614713"/>
              <a:gd name="connsiteX90" fmla="*/ 650863 w 736968"/>
              <a:gd name="connsiteY90" fmla="*/ 298055 h 614713"/>
              <a:gd name="connsiteX91" fmla="*/ 650029 w 736968"/>
              <a:gd name="connsiteY91" fmla="*/ 297173 h 614713"/>
              <a:gd name="connsiteX92" fmla="*/ 649360 w 736968"/>
              <a:gd name="connsiteY92" fmla="*/ 299049 h 614713"/>
              <a:gd name="connsiteX93" fmla="*/ 641014 w 736968"/>
              <a:gd name="connsiteY93" fmla="*/ 338304 h 614713"/>
              <a:gd name="connsiteX94" fmla="*/ 641873 w 736968"/>
              <a:gd name="connsiteY94" fmla="*/ 391766 h 614713"/>
              <a:gd name="connsiteX95" fmla="*/ 630216 w 736968"/>
              <a:gd name="connsiteY95" fmla="*/ 447310 h 614713"/>
              <a:gd name="connsiteX96" fmla="*/ 630114 w 736968"/>
              <a:gd name="connsiteY96" fmla="*/ 447593 h 614713"/>
              <a:gd name="connsiteX97" fmla="*/ 630424 w 736968"/>
              <a:gd name="connsiteY97" fmla="*/ 448913 h 614713"/>
              <a:gd name="connsiteX98" fmla="*/ 630536 w 736968"/>
              <a:gd name="connsiteY98" fmla="*/ 448870 h 614713"/>
              <a:gd name="connsiteX99" fmla="*/ 670967 w 736968"/>
              <a:gd name="connsiteY99" fmla="*/ 423677 h 614713"/>
              <a:gd name="connsiteX100" fmla="*/ 713615 w 736968"/>
              <a:gd name="connsiteY100" fmla="*/ 382991 h 614713"/>
              <a:gd name="connsiteX101" fmla="*/ 735795 w 736968"/>
              <a:gd name="connsiteY101" fmla="*/ 312194 h 614713"/>
              <a:gd name="connsiteX102" fmla="*/ 735625 w 736968"/>
              <a:gd name="connsiteY102" fmla="*/ 309641 h 614713"/>
              <a:gd name="connsiteX103" fmla="*/ 734621 w 736968"/>
              <a:gd name="connsiteY103" fmla="*/ 310240 h 614713"/>
              <a:gd name="connsiteX104" fmla="*/ 691954 w 736968"/>
              <a:gd name="connsiteY104" fmla="*/ 321158 h 614713"/>
              <a:gd name="connsiteX105" fmla="*/ 691619 w 736968"/>
              <a:gd name="connsiteY105" fmla="*/ 321526 h 614713"/>
              <a:gd name="connsiteX106" fmla="*/ 691023 w 736968"/>
              <a:gd name="connsiteY106" fmla="*/ 321037 h 614713"/>
              <a:gd name="connsiteX107" fmla="*/ 691358 w 736968"/>
              <a:gd name="connsiteY107" fmla="*/ 304773 h 614713"/>
              <a:gd name="connsiteX108" fmla="*/ 668499 w 736968"/>
              <a:gd name="connsiteY108" fmla="*/ 254370 h 614713"/>
              <a:gd name="connsiteX109" fmla="*/ 650329 w 736968"/>
              <a:gd name="connsiteY109" fmla="*/ 222083 h 614713"/>
              <a:gd name="connsiteX110" fmla="*/ 649301 w 736968"/>
              <a:gd name="connsiteY110" fmla="*/ 221620 h 614713"/>
              <a:gd name="connsiteX111" fmla="*/ 649927 w 736968"/>
              <a:gd name="connsiteY111" fmla="*/ 232502 h 614713"/>
              <a:gd name="connsiteX112" fmla="*/ 670332 w 736968"/>
              <a:gd name="connsiteY112" fmla="*/ 311920 h 614713"/>
              <a:gd name="connsiteX113" fmla="*/ 677470 w 736968"/>
              <a:gd name="connsiteY113" fmla="*/ 362134 h 614713"/>
              <a:gd name="connsiteX114" fmla="*/ 677853 w 736968"/>
              <a:gd name="connsiteY114" fmla="*/ 364277 h 614713"/>
              <a:gd name="connsiteX115" fmla="*/ 677930 w 736968"/>
              <a:gd name="connsiteY115" fmla="*/ 364260 h 614713"/>
              <a:gd name="connsiteX116" fmla="*/ 703296 w 736968"/>
              <a:gd name="connsiteY116" fmla="*/ 334140 h 614713"/>
              <a:gd name="connsiteX117" fmla="*/ 731566 w 736968"/>
              <a:gd name="connsiteY117" fmla="*/ 215331 h 614713"/>
              <a:gd name="connsiteX118" fmla="*/ 728463 w 736968"/>
              <a:gd name="connsiteY118" fmla="*/ 207464 h 614713"/>
              <a:gd name="connsiteX119" fmla="*/ 727561 w 736968"/>
              <a:gd name="connsiteY119" fmla="*/ 208467 h 614713"/>
              <a:gd name="connsiteX120" fmla="*/ 696313 w 736968"/>
              <a:gd name="connsiteY120" fmla="*/ 305065 h 614713"/>
              <a:gd name="connsiteX121" fmla="*/ 691954 w 736968"/>
              <a:gd name="connsiteY121" fmla="*/ 321158 h 614713"/>
              <a:gd name="connsiteX122" fmla="*/ 657467 w 736968"/>
              <a:gd name="connsiteY122" fmla="*/ 179092 h 614713"/>
              <a:gd name="connsiteX123" fmla="*/ 633091 w 736968"/>
              <a:gd name="connsiteY123" fmla="*/ 151962 h 614713"/>
              <a:gd name="connsiteX124" fmla="*/ 632946 w 736968"/>
              <a:gd name="connsiteY124" fmla="*/ 151782 h 614713"/>
              <a:gd name="connsiteX125" fmla="*/ 632669 w 736968"/>
              <a:gd name="connsiteY125" fmla="*/ 151568 h 614713"/>
              <a:gd name="connsiteX126" fmla="*/ 631631 w 736968"/>
              <a:gd name="connsiteY126" fmla="*/ 151363 h 614713"/>
              <a:gd name="connsiteX127" fmla="*/ 631117 w 736968"/>
              <a:gd name="connsiteY127" fmla="*/ 151397 h 614713"/>
              <a:gd name="connsiteX128" fmla="*/ 641873 w 736968"/>
              <a:gd name="connsiteY128" fmla="*/ 182854 h 614713"/>
              <a:gd name="connsiteX129" fmla="*/ 666026 w 736968"/>
              <a:gd name="connsiteY129" fmla="*/ 219443 h 614713"/>
              <a:gd name="connsiteX130" fmla="*/ 667941 w 736968"/>
              <a:gd name="connsiteY130" fmla="*/ 221989 h 614713"/>
              <a:gd name="connsiteX131" fmla="*/ 694437 w 736968"/>
              <a:gd name="connsiteY131" fmla="*/ 272340 h 614713"/>
              <a:gd name="connsiteX132" fmla="*/ 695353 w 736968"/>
              <a:gd name="connsiteY132" fmla="*/ 272897 h 614713"/>
              <a:gd name="connsiteX133" fmla="*/ 706589 w 736968"/>
              <a:gd name="connsiteY133" fmla="*/ 237969 h 614713"/>
              <a:gd name="connsiteX134" fmla="*/ 716529 w 736968"/>
              <a:gd name="connsiteY134" fmla="*/ 200335 h 614713"/>
              <a:gd name="connsiteX135" fmla="*/ 693336 w 736968"/>
              <a:gd name="connsiteY135" fmla="*/ 109931 h 614713"/>
              <a:gd name="connsiteX136" fmla="*/ 692846 w 736968"/>
              <a:gd name="connsiteY136" fmla="*/ 110986 h 614713"/>
              <a:gd name="connsiteX137" fmla="*/ 693695 w 736968"/>
              <a:gd name="connsiteY137" fmla="*/ 113762 h 614713"/>
              <a:gd name="connsiteX138" fmla="*/ 694762 w 736968"/>
              <a:gd name="connsiteY138" fmla="*/ 117738 h 614713"/>
              <a:gd name="connsiteX139" fmla="*/ 695557 w 736968"/>
              <a:gd name="connsiteY139" fmla="*/ 167807 h 614713"/>
              <a:gd name="connsiteX140" fmla="*/ 691876 w 736968"/>
              <a:gd name="connsiteY140" fmla="*/ 207627 h 614713"/>
              <a:gd name="connsiteX141" fmla="*/ 693157 w 736968"/>
              <a:gd name="connsiteY141" fmla="*/ 226975 h 614713"/>
              <a:gd name="connsiteX142" fmla="*/ 692177 w 736968"/>
              <a:gd name="connsiteY142" fmla="*/ 226761 h 614713"/>
              <a:gd name="connsiteX143" fmla="*/ 687871 w 736968"/>
              <a:gd name="connsiteY143" fmla="*/ 215605 h 614713"/>
              <a:gd name="connsiteX144" fmla="*/ 685325 w 736968"/>
              <a:gd name="connsiteY144" fmla="*/ 209863 h 614713"/>
              <a:gd name="connsiteX145" fmla="*/ 657467 w 736968"/>
              <a:gd name="connsiteY145" fmla="*/ 179092 h 614713"/>
              <a:gd name="connsiteX146" fmla="*/ 638090 w 736968"/>
              <a:gd name="connsiteY146" fmla="*/ 57360 h 614713"/>
              <a:gd name="connsiteX147" fmla="*/ 651173 w 736968"/>
              <a:gd name="connsiteY147" fmla="*/ 76187 h 614713"/>
              <a:gd name="connsiteX148" fmla="*/ 660571 w 736968"/>
              <a:gd name="connsiteY148" fmla="*/ 117524 h 614713"/>
              <a:gd name="connsiteX149" fmla="*/ 666414 w 736968"/>
              <a:gd name="connsiteY149" fmla="*/ 139820 h 614713"/>
              <a:gd name="connsiteX150" fmla="*/ 665434 w 736968"/>
              <a:gd name="connsiteY150" fmla="*/ 140214 h 614713"/>
              <a:gd name="connsiteX151" fmla="*/ 665221 w 736968"/>
              <a:gd name="connsiteY151" fmla="*/ 139923 h 614713"/>
              <a:gd name="connsiteX152" fmla="*/ 628911 w 736968"/>
              <a:gd name="connsiteY152" fmla="*/ 109914 h 614713"/>
              <a:gd name="connsiteX153" fmla="*/ 605267 w 736968"/>
              <a:gd name="connsiteY153" fmla="*/ 88698 h 614713"/>
              <a:gd name="connsiteX154" fmla="*/ 601635 w 736968"/>
              <a:gd name="connsiteY154" fmla="*/ 83950 h 614713"/>
              <a:gd name="connsiteX155" fmla="*/ 600583 w 736968"/>
              <a:gd name="connsiteY155" fmla="*/ 83650 h 614713"/>
              <a:gd name="connsiteX156" fmla="*/ 600854 w 736968"/>
              <a:gd name="connsiteY156" fmla="*/ 85630 h 614713"/>
              <a:gd name="connsiteX157" fmla="*/ 621657 w 736968"/>
              <a:gd name="connsiteY157" fmla="*/ 126315 h 614713"/>
              <a:gd name="connsiteX158" fmla="*/ 648836 w 736968"/>
              <a:gd name="connsiteY158" fmla="*/ 149169 h 614713"/>
              <a:gd name="connsiteX159" fmla="*/ 680685 w 736968"/>
              <a:gd name="connsiteY159" fmla="*/ 182203 h 614713"/>
              <a:gd name="connsiteX160" fmla="*/ 680859 w 736968"/>
              <a:gd name="connsiteY160" fmla="*/ 182391 h 614713"/>
              <a:gd name="connsiteX161" fmla="*/ 681567 w 736968"/>
              <a:gd name="connsiteY161" fmla="*/ 182597 h 614713"/>
              <a:gd name="connsiteX162" fmla="*/ 681553 w 736968"/>
              <a:gd name="connsiteY162" fmla="*/ 182399 h 614713"/>
              <a:gd name="connsiteX163" fmla="*/ 681567 w 736968"/>
              <a:gd name="connsiteY163" fmla="*/ 182382 h 614713"/>
              <a:gd name="connsiteX164" fmla="*/ 681262 w 736968"/>
              <a:gd name="connsiteY164" fmla="*/ 171783 h 614713"/>
              <a:gd name="connsiteX165" fmla="*/ 682154 w 736968"/>
              <a:gd name="connsiteY165" fmla="*/ 139452 h 614713"/>
              <a:gd name="connsiteX166" fmla="*/ 682435 w 736968"/>
              <a:gd name="connsiteY166" fmla="*/ 128347 h 614713"/>
              <a:gd name="connsiteX167" fmla="*/ 676534 w 736968"/>
              <a:gd name="connsiteY167" fmla="*/ 95964 h 614713"/>
              <a:gd name="connsiteX168" fmla="*/ 641014 w 736968"/>
              <a:gd name="connsiteY168" fmla="*/ 57198 h 614713"/>
              <a:gd name="connsiteX169" fmla="*/ 637887 w 736968"/>
              <a:gd name="connsiteY169" fmla="*/ 56006 h 614713"/>
              <a:gd name="connsiteX170" fmla="*/ 637969 w 736968"/>
              <a:gd name="connsiteY170" fmla="*/ 57206 h 614713"/>
              <a:gd name="connsiteX171" fmla="*/ 638090 w 736968"/>
              <a:gd name="connsiteY171" fmla="*/ 57360 h 614713"/>
              <a:gd name="connsiteX172" fmla="*/ 568632 w 736968"/>
              <a:gd name="connsiteY172" fmla="*/ 25321 h 614713"/>
              <a:gd name="connsiteX173" fmla="*/ 593421 w 736968"/>
              <a:gd name="connsiteY173" fmla="*/ 54833 h 614713"/>
              <a:gd name="connsiteX174" fmla="*/ 616827 w 736968"/>
              <a:gd name="connsiteY174" fmla="*/ 83702 h 614713"/>
              <a:gd name="connsiteX175" fmla="*/ 645956 w 736968"/>
              <a:gd name="connsiteY175" fmla="*/ 107764 h 614713"/>
              <a:gd name="connsiteX176" fmla="*/ 646154 w 736968"/>
              <a:gd name="connsiteY176" fmla="*/ 107918 h 614713"/>
              <a:gd name="connsiteX177" fmla="*/ 646538 w 736968"/>
              <a:gd name="connsiteY177" fmla="*/ 107892 h 614713"/>
              <a:gd name="connsiteX178" fmla="*/ 646504 w 736968"/>
              <a:gd name="connsiteY178" fmla="*/ 107686 h 614713"/>
              <a:gd name="connsiteX179" fmla="*/ 613181 w 736968"/>
              <a:gd name="connsiteY179" fmla="*/ 44936 h 614713"/>
              <a:gd name="connsiteX180" fmla="*/ 566314 w 736968"/>
              <a:gd name="connsiteY180" fmla="*/ 22288 h 614713"/>
              <a:gd name="connsiteX181" fmla="*/ 566436 w 736968"/>
              <a:gd name="connsiteY181" fmla="*/ 23419 h 614713"/>
              <a:gd name="connsiteX182" fmla="*/ 568632 w 736968"/>
              <a:gd name="connsiteY182" fmla="*/ 25321 h 614713"/>
              <a:gd name="connsiteX183" fmla="*/ 190133 w 736968"/>
              <a:gd name="connsiteY183" fmla="*/ 550860 h 614713"/>
              <a:gd name="connsiteX184" fmla="*/ 236991 w 736968"/>
              <a:gd name="connsiteY184" fmla="*/ 542145 h 614713"/>
              <a:gd name="connsiteX185" fmla="*/ 273332 w 736968"/>
              <a:gd name="connsiteY185" fmla="*/ 533687 h 614713"/>
              <a:gd name="connsiteX186" fmla="*/ 273727 w 736968"/>
              <a:gd name="connsiteY186" fmla="*/ 533590 h 614713"/>
              <a:gd name="connsiteX187" fmla="*/ 273796 w 736968"/>
              <a:gd name="connsiteY187" fmla="*/ 533478 h 614713"/>
              <a:gd name="connsiteX188" fmla="*/ 273358 w 736968"/>
              <a:gd name="connsiteY188" fmla="*/ 532694 h 614713"/>
              <a:gd name="connsiteX189" fmla="*/ 272663 w 736968"/>
              <a:gd name="connsiteY189" fmla="*/ 532384 h 614713"/>
              <a:gd name="connsiteX190" fmla="*/ 223112 w 736968"/>
              <a:gd name="connsiteY190" fmla="*/ 507120 h 614713"/>
              <a:gd name="connsiteX191" fmla="*/ 191591 w 736968"/>
              <a:gd name="connsiteY191" fmla="*/ 476599 h 614713"/>
              <a:gd name="connsiteX192" fmla="*/ 162617 w 736968"/>
              <a:gd name="connsiteY192" fmla="*/ 451972 h 614713"/>
              <a:gd name="connsiteX193" fmla="*/ 162428 w 736968"/>
              <a:gd name="connsiteY193" fmla="*/ 452957 h 614713"/>
              <a:gd name="connsiteX194" fmla="*/ 181367 w 736968"/>
              <a:gd name="connsiteY194" fmla="*/ 491071 h 614713"/>
              <a:gd name="connsiteX195" fmla="*/ 219235 w 736968"/>
              <a:gd name="connsiteY195" fmla="*/ 527602 h 614713"/>
              <a:gd name="connsiteX196" fmla="*/ 219527 w 736968"/>
              <a:gd name="connsiteY196" fmla="*/ 527801 h 614713"/>
              <a:gd name="connsiteX197" fmla="*/ 218146 w 736968"/>
              <a:gd name="connsiteY197" fmla="*/ 528537 h 614713"/>
              <a:gd name="connsiteX198" fmla="*/ 217837 w 736968"/>
              <a:gd name="connsiteY198" fmla="*/ 528484 h 614713"/>
              <a:gd name="connsiteX199" fmla="*/ 159803 w 736968"/>
              <a:gd name="connsiteY199" fmla="*/ 523465 h 614713"/>
              <a:gd name="connsiteX200" fmla="*/ 115321 w 736968"/>
              <a:gd name="connsiteY200" fmla="*/ 516814 h 614713"/>
              <a:gd name="connsiteX201" fmla="*/ 87059 w 736968"/>
              <a:gd name="connsiteY201" fmla="*/ 501893 h 614713"/>
              <a:gd name="connsiteX202" fmla="*/ 85747 w 736968"/>
              <a:gd name="connsiteY202" fmla="*/ 501927 h 614713"/>
              <a:gd name="connsiteX203" fmla="*/ 85782 w 736968"/>
              <a:gd name="connsiteY203" fmla="*/ 502082 h 614713"/>
              <a:gd name="connsiteX204" fmla="*/ 139501 w 736968"/>
              <a:gd name="connsiteY204" fmla="*/ 544267 h 614713"/>
              <a:gd name="connsiteX205" fmla="*/ 190133 w 736968"/>
              <a:gd name="connsiteY205" fmla="*/ 550860 h 614713"/>
              <a:gd name="connsiteX206" fmla="*/ 175105 w 736968"/>
              <a:gd name="connsiteY206" fmla="*/ 511218 h 614713"/>
              <a:gd name="connsiteX207" fmla="*/ 178991 w 736968"/>
              <a:gd name="connsiteY207" fmla="*/ 511901 h 614713"/>
              <a:gd name="connsiteX208" fmla="*/ 179085 w 736968"/>
              <a:gd name="connsiteY208" fmla="*/ 511775 h 614713"/>
              <a:gd name="connsiteX209" fmla="*/ 178887 w 736968"/>
              <a:gd name="connsiteY209" fmla="*/ 511078 h 614713"/>
              <a:gd name="connsiteX210" fmla="*/ 177816 w 736968"/>
              <a:gd name="connsiteY210" fmla="*/ 509968 h 614713"/>
              <a:gd name="connsiteX211" fmla="*/ 153148 w 736968"/>
              <a:gd name="connsiteY211" fmla="*/ 468535 h 614713"/>
              <a:gd name="connsiteX212" fmla="*/ 141276 w 736968"/>
              <a:gd name="connsiteY212" fmla="*/ 434439 h 614713"/>
              <a:gd name="connsiteX213" fmla="*/ 109197 w 736968"/>
              <a:gd name="connsiteY213" fmla="*/ 376213 h 614713"/>
              <a:gd name="connsiteX214" fmla="*/ 109017 w 736968"/>
              <a:gd name="connsiteY214" fmla="*/ 376127 h 614713"/>
              <a:gd name="connsiteX215" fmla="*/ 108717 w 736968"/>
              <a:gd name="connsiteY215" fmla="*/ 377284 h 614713"/>
              <a:gd name="connsiteX216" fmla="*/ 115896 w 736968"/>
              <a:gd name="connsiteY216" fmla="*/ 422571 h 614713"/>
              <a:gd name="connsiteX217" fmla="*/ 142117 w 736968"/>
              <a:gd name="connsiteY217" fmla="*/ 486061 h 614713"/>
              <a:gd name="connsiteX218" fmla="*/ 141697 w 736968"/>
              <a:gd name="connsiteY218" fmla="*/ 486900 h 614713"/>
              <a:gd name="connsiteX219" fmla="*/ 139235 w 736968"/>
              <a:gd name="connsiteY219" fmla="*/ 485005 h 614713"/>
              <a:gd name="connsiteX220" fmla="*/ 96623 w 736968"/>
              <a:gd name="connsiteY220" fmla="*/ 460001 h 614713"/>
              <a:gd name="connsiteX221" fmla="*/ 61928 w 736968"/>
              <a:gd name="connsiteY221" fmla="*/ 441106 h 614713"/>
              <a:gd name="connsiteX222" fmla="*/ 28142 w 736968"/>
              <a:gd name="connsiteY222" fmla="*/ 411663 h 614713"/>
              <a:gd name="connsiteX223" fmla="*/ 26924 w 736968"/>
              <a:gd name="connsiteY223" fmla="*/ 411500 h 614713"/>
              <a:gd name="connsiteX224" fmla="*/ 33486 w 736968"/>
              <a:gd name="connsiteY224" fmla="*/ 427832 h 614713"/>
              <a:gd name="connsiteX225" fmla="*/ 76363 w 736968"/>
              <a:gd name="connsiteY225" fmla="*/ 477953 h 614713"/>
              <a:gd name="connsiteX226" fmla="*/ 135633 w 736968"/>
              <a:gd name="connsiteY226" fmla="*/ 503152 h 614713"/>
              <a:gd name="connsiteX227" fmla="*/ 175105 w 736968"/>
              <a:gd name="connsiteY227" fmla="*/ 511218 h 614713"/>
              <a:gd name="connsiteX228" fmla="*/ 66002 w 736968"/>
              <a:gd name="connsiteY228" fmla="*/ 423677 h 614713"/>
              <a:gd name="connsiteX229" fmla="*/ 106435 w 736968"/>
              <a:gd name="connsiteY229" fmla="*/ 448870 h 614713"/>
              <a:gd name="connsiteX230" fmla="*/ 106547 w 736968"/>
              <a:gd name="connsiteY230" fmla="*/ 448912 h 614713"/>
              <a:gd name="connsiteX231" fmla="*/ 106856 w 736968"/>
              <a:gd name="connsiteY231" fmla="*/ 447593 h 614713"/>
              <a:gd name="connsiteX232" fmla="*/ 106752 w 736968"/>
              <a:gd name="connsiteY232" fmla="*/ 447310 h 614713"/>
              <a:gd name="connsiteX233" fmla="*/ 95096 w 736968"/>
              <a:gd name="connsiteY233" fmla="*/ 391766 h 614713"/>
              <a:gd name="connsiteX234" fmla="*/ 95954 w 736968"/>
              <a:gd name="connsiteY234" fmla="*/ 338304 h 614713"/>
              <a:gd name="connsiteX235" fmla="*/ 87608 w 736968"/>
              <a:gd name="connsiteY235" fmla="*/ 299049 h 614713"/>
              <a:gd name="connsiteX236" fmla="*/ 86939 w 736968"/>
              <a:gd name="connsiteY236" fmla="*/ 297173 h 614713"/>
              <a:gd name="connsiteX237" fmla="*/ 86107 w 736968"/>
              <a:gd name="connsiteY237" fmla="*/ 298055 h 614713"/>
              <a:gd name="connsiteX238" fmla="*/ 86081 w 736968"/>
              <a:gd name="connsiteY238" fmla="*/ 298261 h 614713"/>
              <a:gd name="connsiteX239" fmla="*/ 74674 w 736968"/>
              <a:gd name="connsiteY239" fmla="*/ 351834 h 614713"/>
              <a:gd name="connsiteX240" fmla="*/ 78834 w 736968"/>
              <a:gd name="connsiteY240" fmla="*/ 409050 h 614713"/>
              <a:gd name="connsiteX241" fmla="*/ 78053 w 736968"/>
              <a:gd name="connsiteY241" fmla="*/ 409606 h 614713"/>
              <a:gd name="connsiteX242" fmla="*/ 33271 w 736968"/>
              <a:gd name="connsiteY242" fmla="*/ 358724 h 614713"/>
              <a:gd name="connsiteX243" fmla="*/ 2350 w 736968"/>
              <a:gd name="connsiteY243" fmla="*/ 310240 h 614713"/>
              <a:gd name="connsiteX244" fmla="*/ 1355 w 736968"/>
              <a:gd name="connsiteY244" fmla="*/ 309641 h 614713"/>
              <a:gd name="connsiteX245" fmla="*/ 1174 w 736968"/>
              <a:gd name="connsiteY245" fmla="*/ 312194 h 614713"/>
              <a:gd name="connsiteX246" fmla="*/ 23356 w 736968"/>
              <a:gd name="connsiteY246" fmla="*/ 382991 h 614713"/>
              <a:gd name="connsiteX247" fmla="*/ 66002 w 736968"/>
              <a:gd name="connsiteY247" fmla="*/ 423677 h 614713"/>
              <a:gd name="connsiteX248" fmla="*/ 59037 w 736968"/>
              <a:gd name="connsiteY248" fmla="*/ 364260 h 614713"/>
              <a:gd name="connsiteX249" fmla="*/ 59115 w 736968"/>
              <a:gd name="connsiteY249" fmla="*/ 364285 h 614713"/>
              <a:gd name="connsiteX250" fmla="*/ 59501 w 736968"/>
              <a:gd name="connsiteY250" fmla="*/ 362134 h 614713"/>
              <a:gd name="connsiteX251" fmla="*/ 66637 w 736968"/>
              <a:gd name="connsiteY251" fmla="*/ 311920 h 614713"/>
              <a:gd name="connsiteX252" fmla="*/ 87042 w 736968"/>
              <a:gd name="connsiteY252" fmla="*/ 232511 h 614713"/>
              <a:gd name="connsiteX253" fmla="*/ 87668 w 736968"/>
              <a:gd name="connsiteY253" fmla="*/ 221620 h 614713"/>
              <a:gd name="connsiteX254" fmla="*/ 86639 w 736968"/>
              <a:gd name="connsiteY254" fmla="*/ 222091 h 614713"/>
              <a:gd name="connsiteX255" fmla="*/ 68472 w 736968"/>
              <a:gd name="connsiteY255" fmla="*/ 254370 h 614713"/>
              <a:gd name="connsiteX256" fmla="*/ 45614 w 736968"/>
              <a:gd name="connsiteY256" fmla="*/ 304773 h 614713"/>
              <a:gd name="connsiteX257" fmla="*/ 45948 w 736968"/>
              <a:gd name="connsiteY257" fmla="*/ 321037 h 614713"/>
              <a:gd name="connsiteX258" fmla="*/ 45348 w 736968"/>
              <a:gd name="connsiteY258" fmla="*/ 321526 h 614713"/>
              <a:gd name="connsiteX259" fmla="*/ 45014 w 736968"/>
              <a:gd name="connsiteY259" fmla="*/ 321158 h 614713"/>
              <a:gd name="connsiteX260" fmla="*/ 40648 w 736968"/>
              <a:gd name="connsiteY260" fmla="*/ 305065 h 614713"/>
              <a:gd name="connsiteX261" fmla="*/ 9409 w 736968"/>
              <a:gd name="connsiteY261" fmla="*/ 208467 h 614713"/>
              <a:gd name="connsiteX262" fmla="*/ 8509 w 736968"/>
              <a:gd name="connsiteY262" fmla="*/ 207464 h 614713"/>
              <a:gd name="connsiteX263" fmla="*/ 5403 w 736968"/>
              <a:gd name="connsiteY263" fmla="*/ 215331 h 614713"/>
              <a:gd name="connsiteX264" fmla="*/ 33666 w 736968"/>
              <a:gd name="connsiteY264" fmla="*/ 334140 h 614713"/>
              <a:gd name="connsiteX265" fmla="*/ 59037 w 736968"/>
              <a:gd name="connsiteY265" fmla="*/ 364260 h 614713"/>
              <a:gd name="connsiteX266" fmla="*/ 30372 w 736968"/>
              <a:gd name="connsiteY266" fmla="*/ 237961 h 614713"/>
              <a:gd name="connsiteX267" fmla="*/ 41617 w 736968"/>
              <a:gd name="connsiteY267" fmla="*/ 272905 h 614713"/>
              <a:gd name="connsiteX268" fmla="*/ 42535 w 736968"/>
              <a:gd name="connsiteY268" fmla="*/ 272340 h 614713"/>
              <a:gd name="connsiteX269" fmla="*/ 69030 w 736968"/>
              <a:gd name="connsiteY269" fmla="*/ 221988 h 614713"/>
              <a:gd name="connsiteX270" fmla="*/ 70943 w 736968"/>
              <a:gd name="connsiteY270" fmla="*/ 219443 h 614713"/>
              <a:gd name="connsiteX271" fmla="*/ 95096 w 736968"/>
              <a:gd name="connsiteY271" fmla="*/ 182853 h 614713"/>
              <a:gd name="connsiteX272" fmla="*/ 105861 w 736968"/>
              <a:gd name="connsiteY272" fmla="*/ 151397 h 614713"/>
              <a:gd name="connsiteX273" fmla="*/ 105338 w 736968"/>
              <a:gd name="connsiteY273" fmla="*/ 151354 h 614713"/>
              <a:gd name="connsiteX274" fmla="*/ 104300 w 736968"/>
              <a:gd name="connsiteY274" fmla="*/ 151568 h 614713"/>
              <a:gd name="connsiteX275" fmla="*/ 104025 w 736968"/>
              <a:gd name="connsiteY275" fmla="*/ 151782 h 614713"/>
              <a:gd name="connsiteX276" fmla="*/ 103879 w 736968"/>
              <a:gd name="connsiteY276" fmla="*/ 151962 h 614713"/>
              <a:gd name="connsiteX277" fmla="*/ 79503 w 736968"/>
              <a:gd name="connsiteY277" fmla="*/ 179092 h 614713"/>
              <a:gd name="connsiteX278" fmla="*/ 51644 w 736968"/>
              <a:gd name="connsiteY278" fmla="*/ 209863 h 614713"/>
              <a:gd name="connsiteX279" fmla="*/ 49096 w 736968"/>
              <a:gd name="connsiteY279" fmla="*/ 215596 h 614713"/>
              <a:gd name="connsiteX280" fmla="*/ 44790 w 736968"/>
              <a:gd name="connsiteY280" fmla="*/ 226761 h 614713"/>
              <a:gd name="connsiteX281" fmla="*/ 43804 w 736968"/>
              <a:gd name="connsiteY281" fmla="*/ 226975 h 614713"/>
              <a:gd name="connsiteX282" fmla="*/ 45099 w 736968"/>
              <a:gd name="connsiteY282" fmla="*/ 207627 h 614713"/>
              <a:gd name="connsiteX283" fmla="*/ 41411 w 736968"/>
              <a:gd name="connsiteY283" fmla="*/ 167807 h 614713"/>
              <a:gd name="connsiteX284" fmla="*/ 42200 w 736968"/>
              <a:gd name="connsiteY284" fmla="*/ 117729 h 614713"/>
              <a:gd name="connsiteX285" fmla="*/ 43272 w 736968"/>
              <a:gd name="connsiteY285" fmla="*/ 113762 h 614713"/>
              <a:gd name="connsiteX286" fmla="*/ 44121 w 736968"/>
              <a:gd name="connsiteY286" fmla="*/ 110986 h 614713"/>
              <a:gd name="connsiteX287" fmla="*/ 43632 w 736968"/>
              <a:gd name="connsiteY287" fmla="*/ 109931 h 614713"/>
              <a:gd name="connsiteX288" fmla="*/ 20440 w 736968"/>
              <a:gd name="connsiteY288" fmla="*/ 200335 h 614713"/>
              <a:gd name="connsiteX289" fmla="*/ 30372 w 736968"/>
              <a:gd name="connsiteY289" fmla="*/ 237961 h 614713"/>
              <a:gd name="connsiteX290" fmla="*/ 55709 w 736968"/>
              <a:gd name="connsiteY290" fmla="*/ 171783 h 614713"/>
              <a:gd name="connsiteX291" fmla="*/ 55401 w 736968"/>
              <a:gd name="connsiteY291" fmla="*/ 182382 h 614713"/>
              <a:gd name="connsiteX292" fmla="*/ 55418 w 736968"/>
              <a:gd name="connsiteY292" fmla="*/ 182399 h 614713"/>
              <a:gd name="connsiteX293" fmla="*/ 55401 w 736968"/>
              <a:gd name="connsiteY293" fmla="*/ 182597 h 614713"/>
              <a:gd name="connsiteX294" fmla="*/ 56113 w 736968"/>
              <a:gd name="connsiteY294" fmla="*/ 182391 h 614713"/>
              <a:gd name="connsiteX295" fmla="*/ 56284 w 736968"/>
              <a:gd name="connsiteY295" fmla="*/ 182203 h 614713"/>
              <a:gd name="connsiteX296" fmla="*/ 88132 w 736968"/>
              <a:gd name="connsiteY296" fmla="*/ 149169 h 614713"/>
              <a:gd name="connsiteX297" fmla="*/ 115313 w 736968"/>
              <a:gd name="connsiteY297" fmla="*/ 126315 h 614713"/>
              <a:gd name="connsiteX298" fmla="*/ 136113 w 736968"/>
              <a:gd name="connsiteY298" fmla="*/ 85630 h 614713"/>
              <a:gd name="connsiteX299" fmla="*/ 136387 w 736968"/>
              <a:gd name="connsiteY299" fmla="*/ 83650 h 614713"/>
              <a:gd name="connsiteX300" fmla="*/ 135332 w 736968"/>
              <a:gd name="connsiteY300" fmla="*/ 83950 h 614713"/>
              <a:gd name="connsiteX301" fmla="*/ 131713 w 736968"/>
              <a:gd name="connsiteY301" fmla="*/ 88698 h 614713"/>
              <a:gd name="connsiteX302" fmla="*/ 108056 w 736968"/>
              <a:gd name="connsiteY302" fmla="*/ 109914 h 614713"/>
              <a:gd name="connsiteX303" fmla="*/ 71748 w 736968"/>
              <a:gd name="connsiteY303" fmla="*/ 139923 h 614713"/>
              <a:gd name="connsiteX304" fmla="*/ 71534 w 736968"/>
              <a:gd name="connsiteY304" fmla="*/ 140214 h 614713"/>
              <a:gd name="connsiteX305" fmla="*/ 70557 w 736968"/>
              <a:gd name="connsiteY305" fmla="*/ 139820 h 614713"/>
              <a:gd name="connsiteX306" fmla="*/ 76397 w 736968"/>
              <a:gd name="connsiteY306" fmla="*/ 117524 h 614713"/>
              <a:gd name="connsiteX307" fmla="*/ 85799 w 736968"/>
              <a:gd name="connsiteY307" fmla="*/ 76187 h 614713"/>
              <a:gd name="connsiteX308" fmla="*/ 98870 w 736968"/>
              <a:gd name="connsiteY308" fmla="*/ 57360 h 614713"/>
              <a:gd name="connsiteX309" fmla="*/ 99008 w 736968"/>
              <a:gd name="connsiteY309" fmla="*/ 57207 h 614713"/>
              <a:gd name="connsiteX310" fmla="*/ 99085 w 736968"/>
              <a:gd name="connsiteY310" fmla="*/ 56016 h 614713"/>
              <a:gd name="connsiteX311" fmla="*/ 95954 w 736968"/>
              <a:gd name="connsiteY311" fmla="*/ 57198 h 614713"/>
              <a:gd name="connsiteX312" fmla="*/ 60436 w 736968"/>
              <a:gd name="connsiteY312" fmla="*/ 95964 h 614713"/>
              <a:gd name="connsiteX313" fmla="*/ 54534 w 736968"/>
              <a:gd name="connsiteY313" fmla="*/ 128347 h 614713"/>
              <a:gd name="connsiteX314" fmla="*/ 54817 w 736968"/>
              <a:gd name="connsiteY314" fmla="*/ 139452 h 614713"/>
              <a:gd name="connsiteX315" fmla="*/ 55709 w 736968"/>
              <a:gd name="connsiteY315" fmla="*/ 171783 h 614713"/>
              <a:gd name="connsiteX316" fmla="*/ 90430 w 736968"/>
              <a:gd name="connsiteY316" fmla="*/ 107892 h 614713"/>
              <a:gd name="connsiteX317" fmla="*/ 90816 w 736968"/>
              <a:gd name="connsiteY317" fmla="*/ 107918 h 614713"/>
              <a:gd name="connsiteX318" fmla="*/ 91014 w 736968"/>
              <a:gd name="connsiteY318" fmla="*/ 107764 h 614713"/>
              <a:gd name="connsiteX319" fmla="*/ 120142 w 736968"/>
              <a:gd name="connsiteY319" fmla="*/ 83702 h 614713"/>
              <a:gd name="connsiteX320" fmla="*/ 143550 w 736968"/>
              <a:gd name="connsiteY320" fmla="*/ 54833 h 614713"/>
              <a:gd name="connsiteX321" fmla="*/ 168338 w 736968"/>
              <a:gd name="connsiteY321" fmla="*/ 25321 h 614713"/>
              <a:gd name="connsiteX322" fmla="*/ 170533 w 736968"/>
              <a:gd name="connsiteY322" fmla="*/ 23410 h 614713"/>
              <a:gd name="connsiteX323" fmla="*/ 170654 w 736968"/>
              <a:gd name="connsiteY323" fmla="*/ 22288 h 614713"/>
              <a:gd name="connsiteX324" fmla="*/ 123788 w 736968"/>
              <a:gd name="connsiteY324" fmla="*/ 44936 h 614713"/>
              <a:gd name="connsiteX325" fmla="*/ 90465 w 736968"/>
              <a:gd name="connsiteY325" fmla="*/ 107686 h 614713"/>
              <a:gd name="connsiteX326" fmla="*/ 90430 w 736968"/>
              <a:gd name="connsiteY326" fmla="*/ 107892 h 614713"/>
              <a:gd name="connsiteX327" fmla="*/ 361962 w 736968"/>
              <a:gd name="connsiteY327" fmla="*/ 317499 h 614713"/>
              <a:gd name="connsiteX328" fmla="*/ 357913 w 736968"/>
              <a:gd name="connsiteY328" fmla="*/ 317798 h 614713"/>
              <a:gd name="connsiteX329" fmla="*/ 361962 w 736968"/>
              <a:gd name="connsiteY329" fmla="*/ 317499 h 614713"/>
              <a:gd name="connsiteX330" fmla="*/ 413348 w 736968"/>
              <a:gd name="connsiteY330" fmla="*/ 198801 h 614713"/>
              <a:gd name="connsiteX331" fmla="*/ 405209 w 736968"/>
              <a:gd name="connsiteY331" fmla="*/ 208483 h 614713"/>
              <a:gd name="connsiteX332" fmla="*/ 413348 w 736968"/>
              <a:gd name="connsiteY332" fmla="*/ 198801 h 614713"/>
              <a:gd name="connsiteX333" fmla="*/ 414961 w 736968"/>
              <a:gd name="connsiteY333" fmla="*/ 197181 h 614713"/>
              <a:gd name="connsiteX334" fmla="*/ 420150 w 736968"/>
              <a:gd name="connsiteY334" fmla="*/ 194336 h 614713"/>
              <a:gd name="connsiteX335" fmla="*/ 413254 w 736968"/>
              <a:gd name="connsiteY335" fmla="*/ 192545 h 614713"/>
              <a:gd name="connsiteX336" fmla="*/ 414961 w 736968"/>
              <a:gd name="connsiteY336" fmla="*/ 197181 h 614713"/>
              <a:gd name="connsiteX337" fmla="*/ 505468 w 736968"/>
              <a:gd name="connsiteY337" fmla="*/ 276444 h 614713"/>
              <a:gd name="connsiteX338" fmla="*/ 501274 w 736968"/>
              <a:gd name="connsiteY338" fmla="*/ 280001 h 614713"/>
              <a:gd name="connsiteX339" fmla="*/ 505633 w 736968"/>
              <a:gd name="connsiteY339" fmla="*/ 281003 h 614713"/>
              <a:gd name="connsiteX340" fmla="*/ 505468 w 736968"/>
              <a:gd name="connsiteY340" fmla="*/ 276444 h 614713"/>
              <a:gd name="connsiteX341" fmla="*/ 472669 w 736968"/>
              <a:gd name="connsiteY341" fmla="*/ 191097 h 614713"/>
              <a:gd name="connsiteX342" fmla="*/ 472077 w 736968"/>
              <a:gd name="connsiteY342" fmla="*/ 194362 h 614713"/>
              <a:gd name="connsiteX343" fmla="*/ 477018 w 736968"/>
              <a:gd name="connsiteY343" fmla="*/ 193599 h 614713"/>
              <a:gd name="connsiteX344" fmla="*/ 479642 w 736968"/>
              <a:gd name="connsiteY344" fmla="*/ 189640 h 614713"/>
              <a:gd name="connsiteX345" fmla="*/ 478081 w 736968"/>
              <a:gd name="connsiteY345" fmla="*/ 183505 h 614713"/>
              <a:gd name="connsiteX346" fmla="*/ 483004 w 736968"/>
              <a:gd name="connsiteY346" fmla="*/ 183693 h 614713"/>
              <a:gd name="connsiteX347" fmla="*/ 484849 w 736968"/>
              <a:gd name="connsiteY347" fmla="*/ 180138 h 614713"/>
              <a:gd name="connsiteX348" fmla="*/ 481315 w 736968"/>
              <a:gd name="connsiteY348" fmla="*/ 174782 h 614713"/>
              <a:gd name="connsiteX349" fmla="*/ 475688 w 736968"/>
              <a:gd name="connsiteY349" fmla="*/ 180454 h 614713"/>
              <a:gd name="connsiteX350" fmla="*/ 475722 w 736968"/>
              <a:gd name="connsiteY350" fmla="*/ 184979 h 614713"/>
              <a:gd name="connsiteX351" fmla="*/ 472669 w 736968"/>
              <a:gd name="connsiteY351" fmla="*/ 191097 h 614713"/>
              <a:gd name="connsiteX352" fmla="*/ 517125 w 736968"/>
              <a:gd name="connsiteY352" fmla="*/ 191466 h 614713"/>
              <a:gd name="connsiteX353" fmla="*/ 520995 w 736968"/>
              <a:gd name="connsiteY353" fmla="*/ 203625 h 614713"/>
              <a:gd name="connsiteX354" fmla="*/ 523977 w 736968"/>
              <a:gd name="connsiteY354" fmla="*/ 212254 h 614713"/>
              <a:gd name="connsiteX355" fmla="*/ 524801 w 736968"/>
              <a:gd name="connsiteY355" fmla="*/ 205836 h 614713"/>
              <a:gd name="connsiteX356" fmla="*/ 521252 w 736968"/>
              <a:gd name="connsiteY356" fmla="*/ 191268 h 614713"/>
              <a:gd name="connsiteX357" fmla="*/ 514793 w 736968"/>
              <a:gd name="connsiteY357" fmla="*/ 179177 h 614713"/>
              <a:gd name="connsiteX358" fmla="*/ 517324 w 736968"/>
              <a:gd name="connsiteY358" fmla="*/ 188261 h 614713"/>
              <a:gd name="connsiteX359" fmla="*/ 517125 w 736968"/>
              <a:gd name="connsiteY359" fmla="*/ 191466 h 614713"/>
              <a:gd name="connsiteX360" fmla="*/ 493631 w 736968"/>
              <a:gd name="connsiteY360" fmla="*/ 76958 h 614713"/>
              <a:gd name="connsiteX361" fmla="*/ 492089 w 736968"/>
              <a:gd name="connsiteY361" fmla="*/ 70668 h 614713"/>
              <a:gd name="connsiteX362" fmla="*/ 484780 w 736968"/>
              <a:gd name="connsiteY362" fmla="*/ 70609 h 614713"/>
              <a:gd name="connsiteX363" fmla="*/ 493631 w 736968"/>
              <a:gd name="connsiteY363" fmla="*/ 76958 h 614713"/>
              <a:gd name="connsiteX364" fmla="*/ 392480 w 736968"/>
              <a:gd name="connsiteY364" fmla="*/ 47935 h 614713"/>
              <a:gd name="connsiteX365" fmla="*/ 388234 w 736968"/>
              <a:gd name="connsiteY365" fmla="*/ 38527 h 614713"/>
              <a:gd name="connsiteX366" fmla="*/ 377126 w 736968"/>
              <a:gd name="connsiteY366" fmla="*/ 40703 h 614713"/>
              <a:gd name="connsiteX367" fmla="*/ 383440 w 736968"/>
              <a:gd name="connsiteY367" fmla="*/ 44370 h 614713"/>
              <a:gd name="connsiteX368" fmla="*/ 393183 w 736968"/>
              <a:gd name="connsiteY368" fmla="*/ 49649 h 614713"/>
              <a:gd name="connsiteX369" fmla="*/ 392480 w 736968"/>
              <a:gd name="connsiteY369" fmla="*/ 47935 h 614713"/>
              <a:gd name="connsiteX370" fmla="*/ 419275 w 736968"/>
              <a:gd name="connsiteY370" fmla="*/ 34465 h 614713"/>
              <a:gd name="connsiteX371" fmla="*/ 391570 w 736968"/>
              <a:gd name="connsiteY371" fmla="*/ 37686 h 614713"/>
              <a:gd name="connsiteX372" fmla="*/ 407696 w 736968"/>
              <a:gd name="connsiteY372" fmla="*/ 37712 h 614713"/>
              <a:gd name="connsiteX373" fmla="*/ 419275 w 736968"/>
              <a:gd name="connsiteY373" fmla="*/ 34465 h 614713"/>
              <a:gd name="connsiteX374" fmla="*/ 353873 w 736968"/>
              <a:gd name="connsiteY374" fmla="*/ 294294 h 614713"/>
              <a:gd name="connsiteX375" fmla="*/ 352124 w 736968"/>
              <a:gd name="connsiteY375" fmla="*/ 294388 h 614713"/>
              <a:gd name="connsiteX376" fmla="*/ 352535 w 736968"/>
              <a:gd name="connsiteY376" fmla="*/ 297721 h 614713"/>
              <a:gd name="connsiteX377" fmla="*/ 358068 w 736968"/>
              <a:gd name="connsiteY377" fmla="*/ 297790 h 614713"/>
              <a:gd name="connsiteX378" fmla="*/ 357750 w 736968"/>
              <a:gd name="connsiteY378" fmla="*/ 294911 h 614713"/>
              <a:gd name="connsiteX379" fmla="*/ 353873 w 736968"/>
              <a:gd name="connsiteY379" fmla="*/ 294294 h 614713"/>
              <a:gd name="connsiteX380" fmla="*/ 345262 w 736968"/>
              <a:gd name="connsiteY380" fmla="*/ 249872 h 614713"/>
              <a:gd name="connsiteX381" fmla="*/ 348109 w 736968"/>
              <a:gd name="connsiteY381" fmla="*/ 248544 h 614713"/>
              <a:gd name="connsiteX382" fmla="*/ 350176 w 736968"/>
              <a:gd name="connsiteY382" fmla="*/ 249941 h 614713"/>
              <a:gd name="connsiteX383" fmla="*/ 348015 w 736968"/>
              <a:gd name="connsiteY383" fmla="*/ 245168 h 614713"/>
              <a:gd name="connsiteX384" fmla="*/ 345262 w 736968"/>
              <a:gd name="connsiteY384" fmla="*/ 249871 h 614713"/>
              <a:gd name="connsiteX385" fmla="*/ 352998 w 736968"/>
              <a:gd name="connsiteY385" fmla="*/ 254807 h 614713"/>
              <a:gd name="connsiteX386" fmla="*/ 347775 w 736968"/>
              <a:gd name="connsiteY386" fmla="*/ 256213 h 614713"/>
              <a:gd name="connsiteX387" fmla="*/ 345502 w 736968"/>
              <a:gd name="connsiteY387" fmla="*/ 251971 h 614713"/>
              <a:gd name="connsiteX388" fmla="*/ 342311 w 736968"/>
              <a:gd name="connsiteY388" fmla="*/ 256564 h 614713"/>
              <a:gd name="connsiteX389" fmla="*/ 343778 w 736968"/>
              <a:gd name="connsiteY389" fmla="*/ 260917 h 614713"/>
              <a:gd name="connsiteX390" fmla="*/ 356558 w 736968"/>
              <a:gd name="connsiteY390" fmla="*/ 262614 h 614713"/>
              <a:gd name="connsiteX391" fmla="*/ 352998 w 736968"/>
              <a:gd name="connsiteY391" fmla="*/ 254807 h 614713"/>
              <a:gd name="connsiteX392" fmla="*/ 311699 w 736968"/>
              <a:gd name="connsiteY392" fmla="*/ 299290 h 614713"/>
              <a:gd name="connsiteX393" fmla="*/ 312960 w 736968"/>
              <a:gd name="connsiteY393" fmla="*/ 293257 h 614713"/>
              <a:gd name="connsiteX394" fmla="*/ 308251 w 736968"/>
              <a:gd name="connsiteY394" fmla="*/ 293685 h 614713"/>
              <a:gd name="connsiteX395" fmla="*/ 311699 w 736968"/>
              <a:gd name="connsiteY395" fmla="*/ 299290 h 614713"/>
              <a:gd name="connsiteX396" fmla="*/ 257567 w 736968"/>
              <a:gd name="connsiteY396" fmla="*/ 298887 h 614713"/>
              <a:gd name="connsiteX397" fmla="*/ 256366 w 736968"/>
              <a:gd name="connsiteY397" fmla="*/ 291072 h 614713"/>
              <a:gd name="connsiteX398" fmla="*/ 254437 w 736968"/>
              <a:gd name="connsiteY398" fmla="*/ 291835 h 614713"/>
              <a:gd name="connsiteX399" fmla="*/ 252961 w 736968"/>
              <a:gd name="connsiteY399" fmla="*/ 289401 h 614713"/>
              <a:gd name="connsiteX400" fmla="*/ 254171 w 736968"/>
              <a:gd name="connsiteY400" fmla="*/ 295793 h 614713"/>
              <a:gd name="connsiteX401" fmla="*/ 257567 w 736968"/>
              <a:gd name="connsiteY401" fmla="*/ 298887 h 614713"/>
              <a:gd name="connsiteX402" fmla="*/ 256264 w 736968"/>
              <a:gd name="connsiteY402" fmla="*/ 286530 h 614713"/>
              <a:gd name="connsiteX403" fmla="*/ 258116 w 736968"/>
              <a:gd name="connsiteY403" fmla="*/ 274216 h 614713"/>
              <a:gd name="connsiteX404" fmla="*/ 255664 w 736968"/>
              <a:gd name="connsiteY404" fmla="*/ 268158 h 614713"/>
              <a:gd name="connsiteX405" fmla="*/ 256032 w 736968"/>
              <a:gd name="connsiteY405" fmla="*/ 273531 h 614713"/>
              <a:gd name="connsiteX406" fmla="*/ 253973 w 736968"/>
              <a:gd name="connsiteY406" fmla="*/ 283660 h 614713"/>
              <a:gd name="connsiteX407" fmla="*/ 256264 w 736968"/>
              <a:gd name="connsiteY407" fmla="*/ 286530 h 614713"/>
              <a:gd name="connsiteX408" fmla="*/ 111728 w 736968"/>
              <a:gd name="connsiteY408" fmla="*/ 256564 h 614713"/>
              <a:gd name="connsiteX409" fmla="*/ 186908 w 736968"/>
              <a:gd name="connsiteY409" fmla="*/ 75107 h 614713"/>
              <a:gd name="connsiteX410" fmla="*/ 368541 w 736968"/>
              <a:gd name="connsiteY410" fmla="*/ 0 h 614713"/>
              <a:gd name="connsiteX411" fmla="*/ 550172 w 736968"/>
              <a:gd name="connsiteY411" fmla="*/ 75107 h 614713"/>
              <a:gd name="connsiteX412" fmla="*/ 625352 w 736968"/>
              <a:gd name="connsiteY412" fmla="*/ 256564 h 614713"/>
              <a:gd name="connsiteX413" fmla="*/ 550172 w 736968"/>
              <a:gd name="connsiteY413" fmla="*/ 438021 h 614713"/>
              <a:gd name="connsiteX414" fmla="*/ 368541 w 736968"/>
              <a:gd name="connsiteY414" fmla="*/ 513127 h 614713"/>
              <a:gd name="connsiteX415" fmla="*/ 186908 w 736968"/>
              <a:gd name="connsiteY415" fmla="*/ 438021 h 614713"/>
              <a:gd name="connsiteX416" fmla="*/ 111728 w 736968"/>
              <a:gd name="connsiteY416" fmla="*/ 256564 h 614713"/>
              <a:gd name="connsiteX417" fmla="*/ 190836 w 736968"/>
              <a:gd name="connsiteY417" fmla="*/ 426350 h 614713"/>
              <a:gd name="connsiteX418" fmla="*/ 218738 w 736968"/>
              <a:gd name="connsiteY418" fmla="*/ 398475 h 614713"/>
              <a:gd name="connsiteX419" fmla="*/ 203299 w 736968"/>
              <a:gd name="connsiteY419" fmla="*/ 380215 h 614713"/>
              <a:gd name="connsiteX420" fmla="*/ 197432 w 736968"/>
              <a:gd name="connsiteY420" fmla="*/ 376291 h 614713"/>
              <a:gd name="connsiteX421" fmla="*/ 192663 w 736968"/>
              <a:gd name="connsiteY421" fmla="*/ 368964 h 614713"/>
              <a:gd name="connsiteX422" fmla="*/ 190030 w 736968"/>
              <a:gd name="connsiteY422" fmla="*/ 372100 h 614713"/>
              <a:gd name="connsiteX423" fmla="*/ 179788 w 736968"/>
              <a:gd name="connsiteY423" fmla="*/ 360892 h 614713"/>
              <a:gd name="connsiteX424" fmla="*/ 172043 w 736968"/>
              <a:gd name="connsiteY424" fmla="*/ 353719 h 614713"/>
              <a:gd name="connsiteX425" fmla="*/ 169110 w 736968"/>
              <a:gd name="connsiteY425" fmla="*/ 351483 h 614713"/>
              <a:gd name="connsiteX426" fmla="*/ 158963 w 736968"/>
              <a:gd name="connsiteY426" fmla="*/ 345468 h 614713"/>
              <a:gd name="connsiteX427" fmla="*/ 157788 w 736968"/>
              <a:gd name="connsiteY427" fmla="*/ 349023 h 614713"/>
              <a:gd name="connsiteX428" fmla="*/ 148318 w 736968"/>
              <a:gd name="connsiteY428" fmla="*/ 342486 h 614713"/>
              <a:gd name="connsiteX429" fmla="*/ 145822 w 736968"/>
              <a:gd name="connsiteY429" fmla="*/ 346968 h 614713"/>
              <a:gd name="connsiteX430" fmla="*/ 147743 w 736968"/>
              <a:gd name="connsiteY430" fmla="*/ 356470 h 614713"/>
              <a:gd name="connsiteX431" fmla="*/ 139938 w 736968"/>
              <a:gd name="connsiteY431" fmla="*/ 335939 h 614713"/>
              <a:gd name="connsiteX432" fmla="*/ 141868 w 736968"/>
              <a:gd name="connsiteY432" fmla="*/ 336205 h 614713"/>
              <a:gd name="connsiteX433" fmla="*/ 140548 w 736968"/>
              <a:gd name="connsiteY433" fmla="*/ 331911 h 614713"/>
              <a:gd name="connsiteX434" fmla="*/ 137828 w 736968"/>
              <a:gd name="connsiteY434" fmla="*/ 327019 h 614713"/>
              <a:gd name="connsiteX435" fmla="*/ 141243 w 736968"/>
              <a:gd name="connsiteY435" fmla="*/ 324105 h 614713"/>
              <a:gd name="connsiteX436" fmla="*/ 142545 w 736968"/>
              <a:gd name="connsiteY436" fmla="*/ 320584 h 614713"/>
              <a:gd name="connsiteX437" fmla="*/ 147126 w 736968"/>
              <a:gd name="connsiteY437" fmla="*/ 317070 h 614713"/>
              <a:gd name="connsiteX438" fmla="*/ 149494 w 736968"/>
              <a:gd name="connsiteY438" fmla="*/ 319109 h 614713"/>
              <a:gd name="connsiteX439" fmla="*/ 156896 w 736968"/>
              <a:gd name="connsiteY439" fmla="*/ 320592 h 614713"/>
              <a:gd name="connsiteX440" fmla="*/ 154185 w 736968"/>
              <a:gd name="connsiteY440" fmla="*/ 318484 h 614713"/>
              <a:gd name="connsiteX441" fmla="*/ 160395 w 736968"/>
              <a:gd name="connsiteY441" fmla="*/ 318621 h 614713"/>
              <a:gd name="connsiteX442" fmla="*/ 165979 w 736968"/>
              <a:gd name="connsiteY442" fmla="*/ 318235 h 614713"/>
              <a:gd name="connsiteX443" fmla="*/ 172198 w 736968"/>
              <a:gd name="connsiteY443" fmla="*/ 320626 h 614713"/>
              <a:gd name="connsiteX444" fmla="*/ 162068 w 736968"/>
              <a:gd name="connsiteY444" fmla="*/ 262048 h 614713"/>
              <a:gd name="connsiteX445" fmla="*/ 122766 w 736968"/>
              <a:gd name="connsiteY445" fmla="*/ 262048 h 614713"/>
              <a:gd name="connsiteX446" fmla="*/ 190836 w 736968"/>
              <a:gd name="connsiteY446" fmla="*/ 426350 h 614713"/>
              <a:gd name="connsiteX447" fmla="*/ 352955 w 736968"/>
              <a:gd name="connsiteY447" fmla="*/ 198903 h 614713"/>
              <a:gd name="connsiteX448" fmla="*/ 348924 w 736968"/>
              <a:gd name="connsiteY448" fmla="*/ 204422 h 614713"/>
              <a:gd name="connsiteX449" fmla="*/ 363051 w 736968"/>
              <a:gd name="connsiteY449" fmla="*/ 201149 h 614713"/>
              <a:gd name="connsiteX450" fmla="*/ 363051 w 736968"/>
              <a:gd name="connsiteY450" fmla="*/ 161783 h 614713"/>
              <a:gd name="connsiteX451" fmla="*/ 305369 w 736968"/>
              <a:gd name="connsiteY451" fmla="*/ 185707 h 614713"/>
              <a:gd name="connsiteX452" fmla="*/ 333185 w 736968"/>
              <a:gd name="connsiteY452" fmla="*/ 213496 h 614713"/>
              <a:gd name="connsiteX453" fmla="*/ 343598 w 736968"/>
              <a:gd name="connsiteY453" fmla="*/ 206727 h 614713"/>
              <a:gd name="connsiteX454" fmla="*/ 346531 w 736968"/>
              <a:gd name="connsiteY454" fmla="*/ 205382 h 614713"/>
              <a:gd name="connsiteX455" fmla="*/ 352955 w 736968"/>
              <a:gd name="connsiteY455" fmla="*/ 198903 h 614713"/>
              <a:gd name="connsiteX456" fmla="*/ 255835 w 736968"/>
              <a:gd name="connsiteY456" fmla="*/ 345674 h 614713"/>
              <a:gd name="connsiteX457" fmla="*/ 255646 w 736968"/>
              <a:gd name="connsiteY457" fmla="*/ 347953 h 614713"/>
              <a:gd name="connsiteX458" fmla="*/ 261968 w 736968"/>
              <a:gd name="connsiteY458" fmla="*/ 355279 h 614713"/>
              <a:gd name="connsiteX459" fmla="*/ 289835 w 736968"/>
              <a:gd name="connsiteY459" fmla="*/ 327438 h 614713"/>
              <a:gd name="connsiteX460" fmla="*/ 264095 w 736968"/>
              <a:gd name="connsiteY460" fmla="*/ 274679 h 614713"/>
              <a:gd name="connsiteX461" fmla="*/ 262053 w 736968"/>
              <a:gd name="connsiteY461" fmla="*/ 273985 h 614713"/>
              <a:gd name="connsiteX462" fmla="*/ 263512 w 736968"/>
              <a:gd name="connsiteY462" fmla="*/ 271020 h 614713"/>
              <a:gd name="connsiteX463" fmla="*/ 262663 w 736968"/>
              <a:gd name="connsiteY463" fmla="*/ 262048 h 614713"/>
              <a:gd name="connsiteX464" fmla="*/ 244110 w 736968"/>
              <a:gd name="connsiteY464" fmla="*/ 262048 h 614713"/>
              <a:gd name="connsiteX465" fmla="*/ 243535 w 736968"/>
              <a:gd name="connsiteY465" fmla="*/ 270729 h 614713"/>
              <a:gd name="connsiteX466" fmla="*/ 238208 w 736968"/>
              <a:gd name="connsiteY466" fmla="*/ 270909 h 614713"/>
              <a:gd name="connsiteX467" fmla="*/ 234777 w 736968"/>
              <a:gd name="connsiteY467" fmla="*/ 278595 h 614713"/>
              <a:gd name="connsiteX468" fmla="*/ 235910 w 736968"/>
              <a:gd name="connsiteY468" fmla="*/ 284191 h 614713"/>
              <a:gd name="connsiteX469" fmla="*/ 237659 w 736968"/>
              <a:gd name="connsiteY469" fmla="*/ 289392 h 614713"/>
              <a:gd name="connsiteX470" fmla="*/ 244822 w 736968"/>
              <a:gd name="connsiteY470" fmla="*/ 297832 h 614713"/>
              <a:gd name="connsiteX471" fmla="*/ 241280 w 736968"/>
              <a:gd name="connsiteY471" fmla="*/ 298981 h 614713"/>
              <a:gd name="connsiteX472" fmla="*/ 245259 w 736968"/>
              <a:gd name="connsiteY472" fmla="*/ 303505 h 614713"/>
              <a:gd name="connsiteX473" fmla="*/ 246666 w 736968"/>
              <a:gd name="connsiteY473" fmla="*/ 311492 h 614713"/>
              <a:gd name="connsiteX474" fmla="*/ 250182 w 736968"/>
              <a:gd name="connsiteY474" fmla="*/ 322931 h 614713"/>
              <a:gd name="connsiteX475" fmla="*/ 251049 w 736968"/>
              <a:gd name="connsiteY475" fmla="*/ 334568 h 614713"/>
              <a:gd name="connsiteX476" fmla="*/ 255835 w 736968"/>
              <a:gd name="connsiteY476" fmla="*/ 345674 h 614713"/>
              <a:gd name="connsiteX477" fmla="*/ 232668 w 736968"/>
              <a:gd name="connsiteY477" fmla="*/ 279444 h 614713"/>
              <a:gd name="connsiteX478" fmla="*/ 234752 w 736968"/>
              <a:gd name="connsiteY478" fmla="*/ 267901 h 614713"/>
              <a:gd name="connsiteX479" fmla="*/ 239855 w 736968"/>
              <a:gd name="connsiteY479" fmla="*/ 262048 h 614713"/>
              <a:gd name="connsiteX480" fmla="*/ 223344 w 736968"/>
              <a:gd name="connsiteY480" fmla="*/ 262048 h 614713"/>
              <a:gd name="connsiteX481" fmla="*/ 226534 w 736968"/>
              <a:gd name="connsiteY481" fmla="*/ 287455 h 614713"/>
              <a:gd name="connsiteX482" fmla="*/ 232668 w 736968"/>
              <a:gd name="connsiteY482" fmla="*/ 279444 h 614713"/>
              <a:gd name="connsiteX483" fmla="*/ 222306 w 736968"/>
              <a:gd name="connsiteY483" fmla="*/ 385519 h 614713"/>
              <a:gd name="connsiteX484" fmla="*/ 221912 w 736968"/>
              <a:gd name="connsiteY484" fmla="*/ 385691 h 614713"/>
              <a:gd name="connsiteX485" fmla="*/ 226501 w 736968"/>
              <a:gd name="connsiteY485" fmla="*/ 390720 h 614713"/>
              <a:gd name="connsiteX486" fmla="*/ 229649 w 736968"/>
              <a:gd name="connsiteY486" fmla="*/ 387576 h 614713"/>
              <a:gd name="connsiteX487" fmla="*/ 222306 w 736968"/>
              <a:gd name="connsiteY487" fmla="*/ 385519 h 614713"/>
              <a:gd name="connsiteX488" fmla="*/ 289835 w 736968"/>
              <a:gd name="connsiteY488" fmla="*/ 185690 h 614713"/>
              <a:gd name="connsiteX489" fmla="*/ 262045 w 736968"/>
              <a:gd name="connsiteY489" fmla="*/ 157926 h 614713"/>
              <a:gd name="connsiteX490" fmla="*/ 223352 w 736968"/>
              <a:gd name="connsiteY490" fmla="*/ 251080 h 614713"/>
              <a:gd name="connsiteX491" fmla="*/ 242823 w 736968"/>
              <a:gd name="connsiteY491" fmla="*/ 251080 h 614713"/>
              <a:gd name="connsiteX492" fmla="*/ 246066 w 736968"/>
              <a:gd name="connsiteY492" fmla="*/ 238792 h 614713"/>
              <a:gd name="connsiteX493" fmla="*/ 250440 w 736968"/>
              <a:gd name="connsiteY493" fmla="*/ 230609 h 614713"/>
              <a:gd name="connsiteX494" fmla="*/ 256504 w 736968"/>
              <a:gd name="connsiteY494" fmla="*/ 225690 h 614713"/>
              <a:gd name="connsiteX495" fmla="*/ 268452 w 736968"/>
              <a:gd name="connsiteY495" fmla="*/ 220498 h 614713"/>
              <a:gd name="connsiteX496" fmla="*/ 278788 w 736968"/>
              <a:gd name="connsiteY496" fmla="*/ 215467 h 614713"/>
              <a:gd name="connsiteX497" fmla="*/ 263623 w 736968"/>
              <a:gd name="connsiteY497" fmla="*/ 218518 h 614713"/>
              <a:gd name="connsiteX498" fmla="*/ 270262 w 736968"/>
              <a:gd name="connsiteY498" fmla="*/ 214884 h 614713"/>
              <a:gd name="connsiteX499" fmla="*/ 271488 w 736968"/>
              <a:gd name="connsiteY499" fmla="*/ 214054 h 614713"/>
              <a:gd name="connsiteX500" fmla="*/ 289835 w 736968"/>
              <a:gd name="connsiteY500" fmla="*/ 185690 h 614713"/>
              <a:gd name="connsiteX501" fmla="*/ 284826 w 736968"/>
              <a:gd name="connsiteY501" fmla="*/ 211672 h 614713"/>
              <a:gd name="connsiteX502" fmla="*/ 285975 w 736968"/>
              <a:gd name="connsiteY502" fmla="*/ 211106 h 614713"/>
              <a:gd name="connsiteX503" fmla="*/ 299682 w 736968"/>
              <a:gd name="connsiteY503" fmla="*/ 210060 h 614713"/>
              <a:gd name="connsiteX504" fmla="*/ 309520 w 736968"/>
              <a:gd name="connsiteY504" fmla="*/ 216907 h 614713"/>
              <a:gd name="connsiteX505" fmla="*/ 314847 w 736968"/>
              <a:gd name="connsiteY505" fmla="*/ 215733 h 614713"/>
              <a:gd name="connsiteX506" fmla="*/ 319333 w 736968"/>
              <a:gd name="connsiteY506" fmla="*/ 217524 h 614713"/>
              <a:gd name="connsiteX507" fmla="*/ 321829 w 736968"/>
              <a:gd name="connsiteY507" fmla="*/ 217652 h 614713"/>
              <a:gd name="connsiteX508" fmla="*/ 297606 w 736968"/>
              <a:gd name="connsiteY508" fmla="*/ 193462 h 614713"/>
              <a:gd name="connsiteX509" fmla="*/ 284826 w 736968"/>
              <a:gd name="connsiteY509" fmla="*/ 211672 h 614713"/>
              <a:gd name="connsiteX510" fmla="*/ 257550 w 736968"/>
              <a:gd name="connsiteY510" fmla="*/ 241568 h 614713"/>
              <a:gd name="connsiteX511" fmla="*/ 249694 w 736968"/>
              <a:gd name="connsiteY511" fmla="*/ 245202 h 614713"/>
              <a:gd name="connsiteX512" fmla="*/ 248604 w 736968"/>
              <a:gd name="connsiteY512" fmla="*/ 251080 h 614713"/>
              <a:gd name="connsiteX513" fmla="*/ 262663 w 736968"/>
              <a:gd name="connsiteY513" fmla="*/ 251080 h 614713"/>
              <a:gd name="connsiteX514" fmla="*/ 263366 w 736968"/>
              <a:gd name="connsiteY514" fmla="*/ 243196 h 614713"/>
              <a:gd name="connsiteX515" fmla="*/ 257550 w 736968"/>
              <a:gd name="connsiteY515" fmla="*/ 241568 h 614713"/>
              <a:gd name="connsiteX516" fmla="*/ 297615 w 736968"/>
              <a:gd name="connsiteY516" fmla="*/ 319675 h 614713"/>
              <a:gd name="connsiteX517" fmla="*/ 325448 w 736968"/>
              <a:gd name="connsiteY517" fmla="*/ 291860 h 614713"/>
              <a:gd name="connsiteX518" fmla="*/ 319469 w 736968"/>
              <a:gd name="connsiteY518" fmla="*/ 282948 h 614713"/>
              <a:gd name="connsiteX519" fmla="*/ 319461 w 736968"/>
              <a:gd name="connsiteY519" fmla="*/ 282965 h 614713"/>
              <a:gd name="connsiteX520" fmla="*/ 318432 w 736968"/>
              <a:gd name="connsiteY520" fmla="*/ 284474 h 614713"/>
              <a:gd name="connsiteX521" fmla="*/ 316880 w 736968"/>
              <a:gd name="connsiteY521" fmla="*/ 291629 h 614713"/>
              <a:gd name="connsiteX522" fmla="*/ 306801 w 736968"/>
              <a:gd name="connsiteY522" fmla="*/ 285965 h 614713"/>
              <a:gd name="connsiteX523" fmla="*/ 303147 w 736968"/>
              <a:gd name="connsiteY523" fmla="*/ 288792 h 614713"/>
              <a:gd name="connsiteX524" fmla="*/ 302135 w 736968"/>
              <a:gd name="connsiteY524" fmla="*/ 291946 h 614713"/>
              <a:gd name="connsiteX525" fmla="*/ 298627 w 736968"/>
              <a:gd name="connsiteY525" fmla="*/ 288158 h 614713"/>
              <a:gd name="connsiteX526" fmla="*/ 296946 w 736968"/>
              <a:gd name="connsiteY526" fmla="*/ 284336 h 614713"/>
              <a:gd name="connsiteX527" fmla="*/ 291010 w 736968"/>
              <a:gd name="connsiteY527" fmla="*/ 282400 h 614713"/>
              <a:gd name="connsiteX528" fmla="*/ 286104 w 736968"/>
              <a:gd name="connsiteY528" fmla="*/ 278758 h 614713"/>
              <a:gd name="connsiteX529" fmla="*/ 281018 w 736968"/>
              <a:gd name="connsiteY529" fmla="*/ 278381 h 614713"/>
              <a:gd name="connsiteX530" fmla="*/ 277038 w 736968"/>
              <a:gd name="connsiteY530" fmla="*/ 276573 h 614713"/>
              <a:gd name="connsiteX531" fmla="*/ 275254 w 736968"/>
              <a:gd name="connsiteY531" fmla="*/ 274705 h 614713"/>
              <a:gd name="connsiteX532" fmla="*/ 297615 w 736968"/>
              <a:gd name="connsiteY532" fmla="*/ 319675 h 614713"/>
              <a:gd name="connsiteX533" fmla="*/ 325474 w 736968"/>
              <a:gd name="connsiteY533" fmla="*/ 271646 h 614713"/>
              <a:gd name="connsiteX534" fmla="*/ 325526 w 736968"/>
              <a:gd name="connsiteY534" fmla="*/ 270909 h 614713"/>
              <a:gd name="connsiteX535" fmla="*/ 325543 w 736968"/>
              <a:gd name="connsiteY535" fmla="*/ 270712 h 614713"/>
              <a:gd name="connsiteX536" fmla="*/ 325602 w 736968"/>
              <a:gd name="connsiteY536" fmla="*/ 270146 h 614713"/>
              <a:gd name="connsiteX537" fmla="*/ 325637 w 736968"/>
              <a:gd name="connsiteY537" fmla="*/ 269906 h 614713"/>
              <a:gd name="connsiteX538" fmla="*/ 325688 w 736968"/>
              <a:gd name="connsiteY538" fmla="*/ 269546 h 614713"/>
              <a:gd name="connsiteX539" fmla="*/ 325723 w 736968"/>
              <a:gd name="connsiteY539" fmla="*/ 269349 h 614713"/>
              <a:gd name="connsiteX540" fmla="*/ 325757 w 736968"/>
              <a:gd name="connsiteY540" fmla="*/ 269135 h 614713"/>
              <a:gd name="connsiteX541" fmla="*/ 325911 w 736968"/>
              <a:gd name="connsiteY541" fmla="*/ 268389 h 614713"/>
              <a:gd name="connsiteX542" fmla="*/ 325911 w 736968"/>
              <a:gd name="connsiteY542" fmla="*/ 268372 h 614713"/>
              <a:gd name="connsiteX543" fmla="*/ 326092 w 736968"/>
              <a:gd name="connsiteY543" fmla="*/ 267695 h 614713"/>
              <a:gd name="connsiteX544" fmla="*/ 326152 w 736968"/>
              <a:gd name="connsiteY544" fmla="*/ 267490 h 614713"/>
              <a:gd name="connsiteX545" fmla="*/ 326306 w 736968"/>
              <a:gd name="connsiteY545" fmla="*/ 267044 h 614713"/>
              <a:gd name="connsiteX546" fmla="*/ 326383 w 736968"/>
              <a:gd name="connsiteY546" fmla="*/ 266838 h 614713"/>
              <a:gd name="connsiteX547" fmla="*/ 326563 w 736968"/>
              <a:gd name="connsiteY547" fmla="*/ 266453 h 614713"/>
              <a:gd name="connsiteX548" fmla="*/ 326641 w 736968"/>
              <a:gd name="connsiteY548" fmla="*/ 266290 h 614713"/>
              <a:gd name="connsiteX549" fmla="*/ 326932 w 736968"/>
              <a:gd name="connsiteY549" fmla="*/ 265845 h 614713"/>
              <a:gd name="connsiteX550" fmla="*/ 328339 w 736968"/>
              <a:gd name="connsiteY550" fmla="*/ 265382 h 614713"/>
              <a:gd name="connsiteX551" fmla="*/ 331735 w 736968"/>
              <a:gd name="connsiteY551" fmla="*/ 266213 h 614713"/>
              <a:gd name="connsiteX552" fmla="*/ 334163 w 736968"/>
              <a:gd name="connsiteY552" fmla="*/ 265064 h 614713"/>
              <a:gd name="connsiteX553" fmla="*/ 335029 w 736968"/>
              <a:gd name="connsiteY553" fmla="*/ 263668 h 614713"/>
              <a:gd name="connsiteX554" fmla="*/ 335415 w 736968"/>
              <a:gd name="connsiteY554" fmla="*/ 262331 h 614713"/>
              <a:gd name="connsiteX555" fmla="*/ 335321 w 736968"/>
              <a:gd name="connsiteY555" fmla="*/ 261825 h 614713"/>
              <a:gd name="connsiteX556" fmla="*/ 333433 w 736968"/>
              <a:gd name="connsiteY556" fmla="*/ 261654 h 614713"/>
              <a:gd name="connsiteX557" fmla="*/ 332748 w 736968"/>
              <a:gd name="connsiteY557" fmla="*/ 261869 h 614713"/>
              <a:gd name="connsiteX558" fmla="*/ 331392 w 736968"/>
              <a:gd name="connsiteY558" fmla="*/ 262100 h 614713"/>
              <a:gd name="connsiteX559" fmla="*/ 330758 w 736968"/>
              <a:gd name="connsiteY559" fmla="*/ 262065 h 614713"/>
              <a:gd name="connsiteX560" fmla="*/ 329188 w 736968"/>
              <a:gd name="connsiteY560" fmla="*/ 261148 h 614713"/>
              <a:gd name="connsiteX561" fmla="*/ 328836 w 736968"/>
              <a:gd name="connsiteY561" fmla="*/ 260488 h 614713"/>
              <a:gd name="connsiteX562" fmla="*/ 328373 w 736968"/>
              <a:gd name="connsiteY562" fmla="*/ 259631 h 614713"/>
              <a:gd name="connsiteX563" fmla="*/ 325594 w 736968"/>
              <a:gd name="connsiteY563" fmla="*/ 257481 h 614713"/>
              <a:gd name="connsiteX564" fmla="*/ 323999 w 736968"/>
              <a:gd name="connsiteY564" fmla="*/ 256376 h 614713"/>
              <a:gd name="connsiteX565" fmla="*/ 323244 w 736968"/>
              <a:gd name="connsiteY565" fmla="*/ 255622 h 614713"/>
              <a:gd name="connsiteX566" fmla="*/ 322661 w 736968"/>
              <a:gd name="connsiteY566" fmla="*/ 254979 h 614713"/>
              <a:gd name="connsiteX567" fmla="*/ 322429 w 736968"/>
              <a:gd name="connsiteY567" fmla="*/ 254765 h 614713"/>
              <a:gd name="connsiteX568" fmla="*/ 322043 w 736968"/>
              <a:gd name="connsiteY568" fmla="*/ 254396 h 614713"/>
              <a:gd name="connsiteX569" fmla="*/ 321751 w 736968"/>
              <a:gd name="connsiteY569" fmla="*/ 254148 h 614713"/>
              <a:gd name="connsiteX570" fmla="*/ 321417 w 736968"/>
              <a:gd name="connsiteY570" fmla="*/ 253882 h 614713"/>
              <a:gd name="connsiteX571" fmla="*/ 321065 w 736968"/>
              <a:gd name="connsiteY571" fmla="*/ 253625 h 614713"/>
              <a:gd name="connsiteX572" fmla="*/ 320765 w 736968"/>
              <a:gd name="connsiteY572" fmla="*/ 253436 h 614713"/>
              <a:gd name="connsiteX573" fmla="*/ 320370 w 736968"/>
              <a:gd name="connsiteY573" fmla="*/ 253205 h 614713"/>
              <a:gd name="connsiteX574" fmla="*/ 320113 w 736968"/>
              <a:gd name="connsiteY574" fmla="*/ 253077 h 614713"/>
              <a:gd name="connsiteX575" fmla="*/ 319667 w 736968"/>
              <a:gd name="connsiteY575" fmla="*/ 252880 h 614713"/>
              <a:gd name="connsiteX576" fmla="*/ 319461 w 736968"/>
              <a:gd name="connsiteY576" fmla="*/ 252811 h 614713"/>
              <a:gd name="connsiteX577" fmla="*/ 318947 w 736968"/>
              <a:gd name="connsiteY577" fmla="*/ 252665 h 614713"/>
              <a:gd name="connsiteX578" fmla="*/ 318843 w 736968"/>
              <a:gd name="connsiteY578" fmla="*/ 252648 h 614713"/>
              <a:gd name="connsiteX579" fmla="*/ 314829 w 736968"/>
              <a:gd name="connsiteY579" fmla="*/ 254028 h 614713"/>
              <a:gd name="connsiteX580" fmla="*/ 314778 w 736968"/>
              <a:gd name="connsiteY580" fmla="*/ 254071 h 614713"/>
              <a:gd name="connsiteX581" fmla="*/ 314152 w 736968"/>
              <a:gd name="connsiteY581" fmla="*/ 254765 h 614713"/>
              <a:gd name="connsiteX582" fmla="*/ 314083 w 736968"/>
              <a:gd name="connsiteY582" fmla="*/ 254842 h 614713"/>
              <a:gd name="connsiteX583" fmla="*/ 313466 w 736968"/>
              <a:gd name="connsiteY583" fmla="*/ 255699 h 614713"/>
              <a:gd name="connsiteX584" fmla="*/ 313414 w 736968"/>
              <a:gd name="connsiteY584" fmla="*/ 255776 h 614713"/>
              <a:gd name="connsiteX585" fmla="*/ 312797 w 736968"/>
              <a:gd name="connsiteY585" fmla="*/ 256830 h 614713"/>
              <a:gd name="connsiteX586" fmla="*/ 311562 w 736968"/>
              <a:gd name="connsiteY586" fmla="*/ 259546 h 614713"/>
              <a:gd name="connsiteX587" fmla="*/ 305283 w 736968"/>
              <a:gd name="connsiteY587" fmla="*/ 268313 h 614713"/>
              <a:gd name="connsiteX588" fmla="*/ 307556 w 736968"/>
              <a:gd name="connsiteY588" fmla="*/ 269006 h 614713"/>
              <a:gd name="connsiteX589" fmla="*/ 309288 w 736968"/>
              <a:gd name="connsiteY589" fmla="*/ 269075 h 614713"/>
              <a:gd name="connsiteX590" fmla="*/ 311253 w 736968"/>
              <a:gd name="connsiteY590" fmla="*/ 269015 h 614713"/>
              <a:gd name="connsiteX591" fmla="*/ 313285 w 736968"/>
              <a:gd name="connsiteY591" fmla="*/ 268835 h 614713"/>
              <a:gd name="connsiteX592" fmla="*/ 314264 w 736968"/>
              <a:gd name="connsiteY592" fmla="*/ 268690 h 614713"/>
              <a:gd name="connsiteX593" fmla="*/ 314829 w 736968"/>
              <a:gd name="connsiteY593" fmla="*/ 268595 h 614713"/>
              <a:gd name="connsiteX594" fmla="*/ 315370 w 736968"/>
              <a:gd name="connsiteY594" fmla="*/ 268484 h 614713"/>
              <a:gd name="connsiteX595" fmla="*/ 315841 w 736968"/>
              <a:gd name="connsiteY595" fmla="*/ 268381 h 614713"/>
              <a:gd name="connsiteX596" fmla="*/ 316425 w 736968"/>
              <a:gd name="connsiteY596" fmla="*/ 268218 h 614713"/>
              <a:gd name="connsiteX597" fmla="*/ 316768 w 736968"/>
              <a:gd name="connsiteY597" fmla="*/ 268115 h 614713"/>
              <a:gd name="connsiteX598" fmla="*/ 317583 w 736968"/>
              <a:gd name="connsiteY598" fmla="*/ 267806 h 614713"/>
              <a:gd name="connsiteX599" fmla="*/ 318878 w 736968"/>
              <a:gd name="connsiteY599" fmla="*/ 267292 h 614713"/>
              <a:gd name="connsiteX600" fmla="*/ 318921 w 736968"/>
              <a:gd name="connsiteY600" fmla="*/ 267284 h 614713"/>
              <a:gd name="connsiteX601" fmla="*/ 320139 w 736968"/>
              <a:gd name="connsiteY601" fmla="*/ 266976 h 614713"/>
              <a:gd name="connsiteX602" fmla="*/ 322335 w 736968"/>
              <a:gd name="connsiteY602" fmla="*/ 267044 h 614713"/>
              <a:gd name="connsiteX603" fmla="*/ 324316 w 736968"/>
              <a:gd name="connsiteY603" fmla="*/ 268509 h 614713"/>
              <a:gd name="connsiteX604" fmla="*/ 325474 w 736968"/>
              <a:gd name="connsiteY604" fmla="*/ 271646 h 614713"/>
              <a:gd name="connsiteX605" fmla="*/ 363051 w 736968"/>
              <a:gd name="connsiteY605" fmla="*/ 150797 h 614713"/>
              <a:gd name="connsiteX606" fmla="*/ 363051 w 736968"/>
              <a:gd name="connsiteY606" fmla="*/ 111517 h 614713"/>
              <a:gd name="connsiteX607" fmla="*/ 269798 w 736968"/>
              <a:gd name="connsiteY607" fmla="*/ 150172 h 614713"/>
              <a:gd name="connsiteX608" fmla="*/ 297598 w 736968"/>
              <a:gd name="connsiteY608" fmla="*/ 177935 h 614713"/>
              <a:gd name="connsiteX609" fmla="*/ 363051 w 736968"/>
              <a:gd name="connsiteY609" fmla="*/ 150797 h 614713"/>
              <a:gd name="connsiteX610" fmla="*/ 363051 w 736968"/>
              <a:gd name="connsiteY610" fmla="*/ 100540 h 614713"/>
              <a:gd name="connsiteX611" fmla="*/ 363051 w 736968"/>
              <a:gd name="connsiteY611" fmla="*/ 61260 h 614713"/>
              <a:gd name="connsiteX612" fmla="*/ 234255 w 736968"/>
              <a:gd name="connsiteY612" fmla="*/ 114662 h 614713"/>
              <a:gd name="connsiteX613" fmla="*/ 262045 w 736968"/>
              <a:gd name="connsiteY613" fmla="*/ 142416 h 614713"/>
              <a:gd name="connsiteX614" fmla="*/ 363051 w 736968"/>
              <a:gd name="connsiteY614" fmla="*/ 100540 h 614713"/>
              <a:gd name="connsiteX615" fmla="*/ 226492 w 736968"/>
              <a:gd name="connsiteY615" fmla="*/ 122408 h 614713"/>
              <a:gd name="connsiteX616" fmla="*/ 173055 w 736968"/>
              <a:gd name="connsiteY616" fmla="*/ 251080 h 614713"/>
              <a:gd name="connsiteX617" fmla="*/ 212365 w 736968"/>
              <a:gd name="connsiteY617" fmla="*/ 251080 h 614713"/>
              <a:gd name="connsiteX618" fmla="*/ 254282 w 736968"/>
              <a:gd name="connsiteY618" fmla="*/ 150172 h 614713"/>
              <a:gd name="connsiteX619" fmla="*/ 226492 w 736968"/>
              <a:gd name="connsiteY619" fmla="*/ 122408 h 614713"/>
              <a:gd name="connsiteX620" fmla="*/ 173055 w 736968"/>
              <a:gd name="connsiteY620" fmla="*/ 262048 h 614713"/>
              <a:gd name="connsiteX621" fmla="*/ 183683 w 736968"/>
              <a:gd name="connsiteY621" fmla="*/ 320369 h 614713"/>
              <a:gd name="connsiteX622" fmla="*/ 184360 w 736968"/>
              <a:gd name="connsiteY622" fmla="*/ 320335 h 614713"/>
              <a:gd name="connsiteX623" fmla="*/ 196197 w 736968"/>
              <a:gd name="connsiteY623" fmla="*/ 318338 h 614713"/>
              <a:gd name="connsiteX624" fmla="*/ 198916 w 736968"/>
              <a:gd name="connsiteY624" fmla="*/ 300241 h 614713"/>
              <a:gd name="connsiteX625" fmla="*/ 211636 w 736968"/>
              <a:gd name="connsiteY625" fmla="*/ 281603 h 614713"/>
              <a:gd name="connsiteX626" fmla="*/ 214552 w 736968"/>
              <a:gd name="connsiteY626" fmla="*/ 283248 h 614713"/>
              <a:gd name="connsiteX627" fmla="*/ 212373 w 736968"/>
              <a:gd name="connsiteY627" fmla="*/ 262048 h 614713"/>
              <a:gd name="connsiteX628" fmla="*/ 173055 w 736968"/>
              <a:gd name="connsiteY628" fmla="*/ 262048 h 614713"/>
              <a:gd name="connsiteX629" fmla="*/ 363051 w 736968"/>
              <a:gd name="connsiteY629" fmla="*/ 462837 h 614713"/>
              <a:gd name="connsiteX630" fmla="*/ 226492 w 736968"/>
              <a:gd name="connsiteY630" fmla="*/ 406230 h 614713"/>
              <a:gd name="connsiteX631" fmla="*/ 198590 w 736968"/>
              <a:gd name="connsiteY631" fmla="*/ 434105 h 614713"/>
              <a:gd name="connsiteX632" fmla="*/ 363051 w 736968"/>
              <a:gd name="connsiteY632" fmla="*/ 502101 h 614713"/>
              <a:gd name="connsiteX633" fmla="*/ 363051 w 736968"/>
              <a:gd name="connsiteY633" fmla="*/ 462837 h 614713"/>
              <a:gd name="connsiteX634" fmla="*/ 363051 w 736968"/>
              <a:gd name="connsiteY634" fmla="*/ 412597 h 614713"/>
              <a:gd name="connsiteX635" fmla="*/ 268735 w 736968"/>
              <a:gd name="connsiteY635" fmla="*/ 376718 h 614713"/>
              <a:gd name="connsiteX636" fmla="*/ 270262 w 736968"/>
              <a:gd name="connsiteY636" fmla="*/ 378827 h 614713"/>
              <a:gd name="connsiteX637" fmla="*/ 274362 w 736968"/>
              <a:gd name="connsiteY637" fmla="*/ 390823 h 614713"/>
              <a:gd name="connsiteX638" fmla="*/ 262431 w 736968"/>
              <a:gd name="connsiteY638" fmla="*/ 391457 h 614713"/>
              <a:gd name="connsiteX639" fmla="*/ 251161 w 736968"/>
              <a:gd name="connsiteY639" fmla="*/ 397002 h 614713"/>
              <a:gd name="connsiteX640" fmla="*/ 241845 w 736968"/>
              <a:gd name="connsiteY640" fmla="*/ 395947 h 614713"/>
              <a:gd name="connsiteX641" fmla="*/ 238680 w 736968"/>
              <a:gd name="connsiteY641" fmla="*/ 394054 h 614713"/>
              <a:gd name="connsiteX642" fmla="*/ 234255 w 736968"/>
              <a:gd name="connsiteY642" fmla="*/ 398475 h 614713"/>
              <a:gd name="connsiteX643" fmla="*/ 363051 w 736968"/>
              <a:gd name="connsiteY643" fmla="*/ 451869 h 614713"/>
              <a:gd name="connsiteX644" fmla="*/ 363051 w 736968"/>
              <a:gd name="connsiteY644" fmla="*/ 412597 h 614713"/>
              <a:gd name="connsiteX645" fmla="*/ 363051 w 736968"/>
              <a:gd name="connsiteY645" fmla="*/ 398792 h 614713"/>
              <a:gd name="connsiteX646" fmla="*/ 347174 w 736968"/>
              <a:gd name="connsiteY646" fmla="*/ 397704 h 614713"/>
              <a:gd name="connsiteX647" fmla="*/ 337576 w 736968"/>
              <a:gd name="connsiteY647" fmla="*/ 389838 h 614713"/>
              <a:gd name="connsiteX648" fmla="*/ 331204 w 736968"/>
              <a:gd name="connsiteY648" fmla="*/ 379289 h 614713"/>
              <a:gd name="connsiteX649" fmla="*/ 335346 w 736968"/>
              <a:gd name="connsiteY649" fmla="*/ 369718 h 614713"/>
              <a:gd name="connsiteX650" fmla="*/ 343238 w 736968"/>
              <a:gd name="connsiteY650" fmla="*/ 359409 h 614713"/>
              <a:gd name="connsiteX651" fmla="*/ 297598 w 736968"/>
              <a:gd name="connsiteY651" fmla="*/ 335193 h 614713"/>
              <a:gd name="connsiteX652" fmla="*/ 269747 w 736968"/>
              <a:gd name="connsiteY652" fmla="*/ 363017 h 614713"/>
              <a:gd name="connsiteX653" fmla="*/ 363051 w 736968"/>
              <a:gd name="connsiteY653" fmla="*/ 401603 h 614713"/>
              <a:gd name="connsiteX654" fmla="*/ 363051 w 736968"/>
              <a:gd name="connsiteY654" fmla="*/ 398792 h 614713"/>
              <a:gd name="connsiteX655" fmla="*/ 371551 w 736968"/>
              <a:gd name="connsiteY655" fmla="*/ 346307 h 614713"/>
              <a:gd name="connsiteX656" fmla="*/ 383954 w 736968"/>
              <a:gd name="connsiteY656" fmla="*/ 344020 h 614713"/>
              <a:gd name="connsiteX657" fmla="*/ 386235 w 736968"/>
              <a:gd name="connsiteY657" fmla="*/ 349726 h 614713"/>
              <a:gd name="connsiteX658" fmla="*/ 402078 w 736968"/>
              <a:gd name="connsiteY658" fmla="*/ 349341 h 614713"/>
              <a:gd name="connsiteX659" fmla="*/ 405526 w 736968"/>
              <a:gd name="connsiteY659" fmla="*/ 345528 h 614713"/>
              <a:gd name="connsiteX660" fmla="*/ 418409 w 736968"/>
              <a:gd name="connsiteY660" fmla="*/ 341466 h 614713"/>
              <a:gd name="connsiteX661" fmla="*/ 423864 w 736968"/>
              <a:gd name="connsiteY661" fmla="*/ 338227 h 614713"/>
              <a:gd name="connsiteX662" fmla="*/ 420253 w 736968"/>
              <a:gd name="connsiteY662" fmla="*/ 329855 h 614713"/>
              <a:gd name="connsiteX663" fmla="*/ 413957 w 736968"/>
              <a:gd name="connsiteY663" fmla="*/ 334123 h 614713"/>
              <a:gd name="connsiteX664" fmla="*/ 407173 w 736968"/>
              <a:gd name="connsiteY664" fmla="*/ 333505 h 614713"/>
              <a:gd name="connsiteX665" fmla="*/ 409729 w 736968"/>
              <a:gd name="connsiteY665" fmla="*/ 327550 h 614713"/>
              <a:gd name="connsiteX666" fmla="*/ 416694 w 736968"/>
              <a:gd name="connsiteY666" fmla="*/ 322460 h 614713"/>
              <a:gd name="connsiteX667" fmla="*/ 422543 w 736968"/>
              <a:gd name="connsiteY667" fmla="*/ 317421 h 614713"/>
              <a:gd name="connsiteX668" fmla="*/ 414369 w 736968"/>
              <a:gd name="connsiteY668" fmla="*/ 316419 h 614713"/>
              <a:gd name="connsiteX669" fmla="*/ 413579 w 736968"/>
              <a:gd name="connsiteY669" fmla="*/ 312948 h 614713"/>
              <a:gd name="connsiteX670" fmla="*/ 412345 w 736968"/>
              <a:gd name="connsiteY670" fmla="*/ 317396 h 614713"/>
              <a:gd name="connsiteX671" fmla="*/ 408194 w 736968"/>
              <a:gd name="connsiteY671" fmla="*/ 318955 h 614713"/>
              <a:gd name="connsiteX672" fmla="*/ 405783 w 736968"/>
              <a:gd name="connsiteY672" fmla="*/ 326462 h 614713"/>
              <a:gd name="connsiteX673" fmla="*/ 406916 w 736968"/>
              <a:gd name="connsiteY673" fmla="*/ 329923 h 614713"/>
              <a:gd name="connsiteX674" fmla="*/ 402918 w 736968"/>
              <a:gd name="connsiteY674" fmla="*/ 331783 h 614713"/>
              <a:gd name="connsiteX675" fmla="*/ 402918 w 736968"/>
              <a:gd name="connsiteY675" fmla="*/ 335956 h 614713"/>
              <a:gd name="connsiteX676" fmla="*/ 401340 w 736968"/>
              <a:gd name="connsiteY676" fmla="*/ 337858 h 614713"/>
              <a:gd name="connsiteX677" fmla="*/ 395920 w 736968"/>
              <a:gd name="connsiteY677" fmla="*/ 334191 h 614713"/>
              <a:gd name="connsiteX678" fmla="*/ 387496 w 736968"/>
              <a:gd name="connsiteY678" fmla="*/ 329949 h 614713"/>
              <a:gd name="connsiteX679" fmla="*/ 390095 w 736968"/>
              <a:gd name="connsiteY679" fmla="*/ 334328 h 614713"/>
              <a:gd name="connsiteX680" fmla="*/ 393106 w 736968"/>
              <a:gd name="connsiteY680" fmla="*/ 338749 h 614713"/>
              <a:gd name="connsiteX681" fmla="*/ 386844 w 736968"/>
              <a:gd name="connsiteY681" fmla="*/ 335528 h 614713"/>
              <a:gd name="connsiteX682" fmla="*/ 380471 w 736968"/>
              <a:gd name="connsiteY682" fmla="*/ 332794 h 614713"/>
              <a:gd name="connsiteX683" fmla="*/ 375685 w 736968"/>
              <a:gd name="connsiteY683" fmla="*/ 334756 h 614713"/>
              <a:gd name="connsiteX684" fmla="*/ 371088 w 736968"/>
              <a:gd name="connsiteY684" fmla="*/ 338081 h 614713"/>
              <a:gd name="connsiteX685" fmla="*/ 366216 w 736968"/>
              <a:gd name="connsiteY685" fmla="*/ 344885 h 614713"/>
              <a:gd name="connsiteX686" fmla="*/ 355083 w 736968"/>
              <a:gd name="connsiteY686" fmla="*/ 341612 h 614713"/>
              <a:gd name="connsiteX687" fmla="*/ 357768 w 736968"/>
              <a:gd name="connsiteY687" fmla="*/ 333788 h 614713"/>
              <a:gd name="connsiteX688" fmla="*/ 365453 w 736968"/>
              <a:gd name="connsiteY688" fmla="*/ 334808 h 614713"/>
              <a:gd name="connsiteX689" fmla="*/ 365847 w 736968"/>
              <a:gd name="connsiteY689" fmla="*/ 328758 h 614713"/>
              <a:gd name="connsiteX690" fmla="*/ 363368 w 736968"/>
              <a:gd name="connsiteY690" fmla="*/ 326479 h 614713"/>
              <a:gd name="connsiteX691" fmla="*/ 369338 w 736968"/>
              <a:gd name="connsiteY691" fmla="*/ 323994 h 614713"/>
              <a:gd name="connsiteX692" fmla="*/ 374502 w 736968"/>
              <a:gd name="connsiteY692" fmla="*/ 318295 h 614713"/>
              <a:gd name="connsiteX693" fmla="*/ 377924 w 736968"/>
              <a:gd name="connsiteY693" fmla="*/ 316444 h 614713"/>
              <a:gd name="connsiteX694" fmla="*/ 376586 w 736968"/>
              <a:gd name="connsiteY694" fmla="*/ 312391 h 614713"/>
              <a:gd name="connsiteX695" fmla="*/ 378139 w 736968"/>
              <a:gd name="connsiteY695" fmla="*/ 310292 h 614713"/>
              <a:gd name="connsiteX696" fmla="*/ 379614 w 736968"/>
              <a:gd name="connsiteY696" fmla="*/ 313771 h 614713"/>
              <a:gd name="connsiteX697" fmla="*/ 381407 w 736968"/>
              <a:gd name="connsiteY697" fmla="*/ 315245 h 614713"/>
              <a:gd name="connsiteX698" fmla="*/ 388680 w 736968"/>
              <a:gd name="connsiteY698" fmla="*/ 312554 h 614713"/>
              <a:gd name="connsiteX699" fmla="*/ 388818 w 736968"/>
              <a:gd name="connsiteY699" fmla="*/ 307198 h 614713"/>
              <a:gd name="connsiteX700" fmla="*/ 390619 w 736968"/>
              <a:gd name="connsiteY700" fmla="*/ 306718 h 614713"/>
              <a:gd name="connsiteX701" fmla="*/ 389521 w 736968"/>
              <a:gd name="connsiteY701" fmla="*/ 303822 h 614713"/>
              <a:gd name="connsiteX702" fmla="*/ 393278 w 736968"/>
              <a:gd name="connsiteY702" fmla="*/ 300523 h 614713"/>
              <a:gd name="connsiteX703" fmla="*/ 389092 w 736968"/>
              <a:gd name="connsiteY703" fmla="*/ 302631 h 614713"/>
              <a:gd name="connsiteX704" fmla="*/ 385583 w 736968"/>
              <a:gd name="connsiteY704" fmla="*/ 299066 h 614713"/>
              <a:gd name="connsiteX705" fmla="*/ 385789 w 736968"/>
              <a:gd name="connsiteY705" fmla="*/ 294002 h 614713"/>
              <a:gd name="connsiteX706" fmla="*/ 383680 w 736968"/>
              <a:gd name="connsiteY706" fmla="*/ 297961 h 614713"/>
              <a:gd name="connsiteX707" fmla="*/ 384031 w 736968"/>
              <a:gd name="connsiteY707" fmla="*/ 303985 h 614713"/>
              <a:gd name="connsiteX708" fmla="*/ 382642 w 736968"/>
              <a:gd name="connsiteY708" fmla="*/ 312425 h 614713"/>
              <a:gd name="connsiteX709" fmla="*/ 378877 w 736968"/>
              <a:gd name="connsiteY709" fmla="*/ 307824 h 614713"/>
              <a:gd name="connsiteX710" fmla="*/ 378388 w 736968"/>
              <a:gd name="connsiteY710" fmla="*/ 307267 h 614713"/>
              <a:gd name="connsiteX711" fmla="*/ 378336 w 736968"/>
              <a:gd name="connsiteY711" fmla="*/ 307241 h 614713"/>
              <a:gd name="connsiteX712" fmla="*/ 378096 w 736968"/>
              <a:gd name="connsiteY712" fmla="*/ 307198 h 614713"/>
              <a:gd name="connsiteX713" fmla="*/ 378087 w 736968"/>
              <a:gd name="connsiteY713" fmla="*/ 307198 h 614713"/>
              <a:gd name="connsiteX714" fmla="*/ 377830 w 736968"/>
              <a:gd name="connsiteY714" fmla="*/ 307327 h 614713"/>
              <a:gd name="connsiteX715" fmla="*/ 377761 w 736968"/>
              <a:gd name="connsiteY715" fmla="*/ 307387 h 614713"/>
              <a:gd name="connsiteX716" fmla="*/ 377478 w 736968"/>
              <a:gd name="connsiteY716" fmla="*/ 307729 h 614713"/>
              <a:gd name="connsiteX717" fmla="*/ 376870 w 736968"/>
              <a:gd name="connsiteY717" fmla="*/ 308749 h 614713"/>
              <a:gd name="connsiteX718" fmla="*/ 376063 w 736968"/>
              <a:gd name="connsiteY718" fmla="*/ 310669 h 614713"/>
              <a:gd name="connsiteX719" fmla="*/ 374665 w 736968"/>
              <a:gd name="connsiteY719" fmla="*/ 311903 h 614713"/>
              <a:gd name="connsiteX720" fmla="*/ 368541 w 736968"/>
              <a:gd name="connsiteY720" fmla="*/ 312262 h 614713"/>
              <a:gd name="connsiteX721" fmla="*/ 366156 w 736968"/>
              <a:gd name="connsiteY721" fmla="*/ 312211 h 614713"/>
              <a:gd name="connsiteX722" fmla="*/ 367297 w 736968"/>
              <a:gd name="connsiteY722" fmla="*/ 315648 h 614713"/>
              <a:gd name="connsiteX723" fmla="*/ 370119 w 736968"/>
              <a:gd name="connsiteY723" fmla="*/ 320883 h 614713"/>
              <a:gd name="connsiteX724" fmla="*/ 362879 w 736968"/>
              <a:gd name="connsiteY724" fmla="*/ 322674 h 614713"/>
              <a:gd name="connsiteX725" fmla="*/ 364303 w 736968"/>
              <a:gd name="connsiteY725" fmla="*/ 317241 h 614713"/>
              <a:gd name="connsiteX726" fmla="*/ 362965 w 736968"/>
              <a:gd name="connsiteY726" fmla="*/ 311980 h 614713"/>
              <a:gd name="connsiteX727" fmla="*/ 333211 w 736968"/>
              <a:gd name="connsiteY727" fmla="*/ 299615 h 614713"/>
              <a:gd name="connsiteX728" fmla="*/ 305369 w 736968"/>
              <a:gd name="connsiteY728" fmla="*/ 327430 h 614713"/>
              <a:gd name="connsiteX729" fmla="*/ 355452 w 736968"/>
              <a:gd name="connsiteY729" fmla="*/ 350609 h 614713"/>
              <a:gd name="connsiteX730" fmla="*/ 361379 w 736968"/>
              <a:gd name="connsiteY730" fmla="*/ 347618 h 614713"/>
              <a:gd name="connsiteX731" fmla="*/ 371552 w 736968"/>
              <a:gd name="connsiteY731" fmla="*/ 346307 h 614713"/>
              <a:gd name="connsiteX732" fmla="*/ 374030 w 736968"/>
              <a:gd name="connsiteY732" fmla="*/ 412589 h 614713"/>
              <a:gd name="connsiteX733" fmla="*/ 374030 w 736968"/>
              <a:gd name="connsiteY733" fmla="*/ 451869 h 614713"/>
              <a:gd name="connsiteX734" fmla="*/ 420176 w 736968"/>
              <a:gd name="connsiteY734" fmla="*/ 445022 h 614713"/>
              <a:gd name="connsiteX735" fmla="*/ 411908 w 736968"/>
              <a:gd name="connsiteY735" fmla="*/ 436890 h 614713"/>
              <a:gd name="connsiteX736" fmla="*/ 407147 w 736968"/>
              <a:gd name="connsiteY736" fmla="*/ 424799 h 614713"/>
              <a:gd name="connsiteX737" fmla="*/ 406066 w 736968"/>
              <a:gd name="connsiteY737" fmla="*/ 417061 h 614713"/>
              <a:gd name="connsiteX738" fmla="*/ 397257 w 736968"/>
              <a:gd name="connsiteY738" fmla="*/ 410009 h 614713"/>
              <a:gd name="connsiteX739" fmla="*/ 374030 w 736968"/>
              <a:gd name="connsiteY739" fmla="*/ 412589 h 614713"/>
              <a:gd name="connsiteX740" fmla="*/ 392901 w 736968"/>
              <a:gd name="connsiteY740" fmla="*/ 399667 h 614713"/>
              <a:gd name="connsiteX741" fmla="*/ 387162 w 736968"/>
              <a:gd name="connsiteY741" fmla="*/ 398672 h 614713"/>
              <a:gd name="connsiteX742" fmla="*/ 374030 w 736968"/>
              <a:gd name="connsiteY742" fmla="*/ 396624 h 614713"/>
              <a:gd name="connsiteX743" fmla="*/ 374030 w 736968"/>
              <a:gd name="connsiteY743" fmla="*/ 401620 h 614713"/>
              <a:gd name="connsiteX744" fmla="*/ 392901 w 736968"/>
              <a:gd name="connsiteY744" fmla="*/ 399667 h 614713"/>
              <a:gd name="connsiteX745" fmla="*/ 538481 w 736968"/>
              <a:gd name="connsiteY745" fmla="*/ 434105 h 614713"/>
              <a:gd name="connsiteX746" fmla="*/ 510579 w 736968"/>
              <a:gd name="connsiteY746" fmla="*/ 406230 h 614713"/>
              <a:gd name="connsiteX747" fmla="*/ 462016 w 736968"/>
              <a:gd name="connsiteY747" fmla="*/ 440532 h 614713"/>
              <a:gd name="connsiteX748" fmla="*/ 443532 w 736968"/>
              <a:gd name="connsiteY748" fmla="*/ 450643 h 614713"/>
              <a:gd name="connsiteX749" fmla="*/ 436215 w 736968"/>
              <a:gd name="connsiteY749" fmla="*/ 453017 h 614713"/>
              <a:gd name="connsiteX750" fmla="*/ 433943 w 736968"/>
              <a:gd name="connsiteY750" fmla="*/ 452298 h 614713"/>
              <a:gd name="connsiteX751" fmla="*/ 374030 w 736968"/>
              <a:gd name="connsiteY751" fmla="*/ 462837 h 614713"/>
              <a:gd name="connsiteX752" fmla="*/ 374030 w 736968"/>
              <a:gd name="connsiteY752" fmla="*/ 502101 h 614713"/>
              <a:gd name="connsiteX753" fmla="*/ 538481 w 736968"/>
              <a:gd name="connsiteY753" fmla="*/ 434105 h 614713"/>
              <a:gd name="connsiteX754" fmla="*/ 483477 w 736968"/>
              <a:gd name="connsiteY754" fmla="*/ 150112 h 614713"/>
              <a:gd name="connsiteX755" fmla="*/ 483159 w 736968"/>
              <a:gd name="connsiteY755" fmla="*/ 150566 h 614713"/>
              <a:gd name="connsiteX756" fmla="*/ 500590 w 736968"/>
              <a:gd name="connsiteY756" fmla="*/ 173205 h 614713"/>
              <a:gd name="connsiteX757" fmla="*/ 502491 w 736968"/>
              <a:gd name="connsiteY757" fmla="*/ 172717 h 614713"/>
              <a:gd name="connsiteX758" fmla="*/ 505158 w 736968"/>
              <a:gd name="connsiteY758" fmla="*/ 176427 h 614713"/>
              <a:gd name="connsiteX759" fmla="*/ 505124 w 736968"/>
              <a:gd name="connsiteY759" fmla="*/ 180840 h 614713"/>
              <a:gd name="connsiteX760" fmla="*/ 508780 w 736968"/>
              <a:gd name="connsiteY760" fmla="*/ 187789 h 614713"/>
              <a:gd name="connsiteX761" fmla="*/ 511549 w 736968"/>
              <a:gd name="connsiteY761" fmla="*/ 190172 h 614713"/>
              <a:gd name="connsiteX762" fmla="*/ 513779 w 736968"/>
              <a:gd name="connsiteY762" fmla="*/ 199041 h 614713"/>
              <a:gd name="connsiteX763" fmla="*/ 518944 w 736968"/>
              <a:gd name="connsiteY763" fmla="*/ 214225 h 614713"/>
              <a:gd name="connsiteX764" fmla="*/ 523487 w 736968"/>
              <a:gd name="connsiteY764" fmla="*/ 216324 h 614713"/>
              <a:gd name="connsiteX765" fmla="*/ 521552 w 736968"/>
              <a:gd name="connsiteY765" fmla="*/ 224928 h 614713"/>
              <a:gd name="connsiteX766" fmla="*/ 524714 w 736968"/>
              <a:gd name="connsiteY766" fmla="*/ 251080 h 614713"/>
              <a:gd name="connsiteX767" fmla="*/ 564026 w 736968"/>
              <a:gd name="connsiteY767" fmla="*/ 251080 h 614713"/>
              <a:gd name="connsiteX768" fmla="*/ 547393 w 736968"/>
              <a:gd name="connsiteY768" fmla="*/ 177396 h 614713"/>
              <a:gd name="connsiteX769" fmla="*/ 544246 w 736968"/>
              <a:gd name="connsiteY769" fmla="*/ 179744 h 614713"/>
              <a:gd name="connsiteX770" fmla="*/ 537273 w 736968"/>
              <a:gd name="connsiteY770" fmla="*/ 176924 h 614713"/>
              <a:gd name="connsiteX771" fmla="*/ 522736 w 736968"/>
              <a:gd name="connsiteY771" fmla="*/ 160866 h 614713"/>
              <a:gd name="connsiteX772" fmla="*/ 514570 w 736968"/>
              <a:gd name="connsiteY772" fmla="*/ 155973 h 614713"/>
              <a:gd name="connsiteX773" fmla="*/ 507185 w 736968"/>
              <a:gd name="connsiteY773" fmla="*/ 150386 h 614713"/>
              <a:gd name="connsiteX774" fmla="*/ 502045 w 736968"/>
              <a:gd name="connsiteY774" fmla="*/ 145176 h 614713"/>
              <a:gd name="connsiteX775" fmla="*/ 492797 w 736968"/>
              <a:gd name="connsiteY775" fmla="*/ 140180 h 614713"/>
              <a:gd name="connsiteX776" fmla="*/ 483391 w 736968"/>
              <a:gd name="connsiteY776" fmla="*/ 149581 h 614713"/>
              <a:gd name="connsiteX777" fmla="*/ 483477 w 736968"/>
              <a:gd name="connsiteY777" fmla="*/ 150112 h 614713"/>
              <a:gd name="connsiteX778" fmla="*/ 508426 w 736968"/>
              <a:gd name="connsiteY778" fmla="*/ 388570 h 614713"/>
              <a:gd name="connsiteX779" fmla="*/ 510579 w 736968"/>
              <a:gd name="connsiteY779" fmla="*/ 390720 h 614713"/>
              <a:gd name="connsiteX780" fmla="*/ 564026 w 736968"/>
              <a:gd name="connsiteY780" fmla="*/ 262048 h 614713"/>
              <a:gd name="connsiteX781" fmla="*/ 524714 w 736968"/>
              <a:gd name="connsiteY781" fmla="*/ 262048 h 614713"/>
              <a:gd name="connsiteX782" fmla="*/ 482799 w 736968"/>
              <a:gd name="connsiteY782" fmla="*/ 362966 h 614713"/>
              <a:gd name="connsiteX783" fmla="*/ 496987 w 736968"/>
              <a:gd name="connsiteY783" fmla="*/ 377138 h 614713"/>
              <a:gd name="connsiteX784" fmla="*/ 497278 w 736968"/>
              <a:gd name="connsiteY784" fmla="*/ 376547 h 614713"/>
              <a:gd name="connsiteX785" fmla="*/ 498141 w 736968"/>
              <a:gd name="connsiteY785" fmla="*/ 368535 h 614713"/>
              <a:gd name="connsiteX786" fmla="*/ 504062 w 736968"/>
              <a:gd name="connsiteY786" fmla="*/ 369863 h 614713"/>
              <a:gd name="connsiteX787" fmla="*/ 507340 w 736968"/>
              <a:gd name="connsiteY787" fmla="*/ 378613 h 614713"/>
              <a:gd name="connsiteX788" fmla="*/ 508426 w 736968"/>
              <a:gd name="connsiteY788" fmla="*/ 388570 h 614713"/>
              <a:gd name="connsiteX789" fmla="*/ 478578 w 736968"/>
              <a:gd name="connsiteY789" fmla="*/ 413077 h 614713"/>
              <a:gd name="connsiteX790" fmla="*/ 473193 w 736968"/>
              <a:gd name="connsiteY790" fmla="*/ 421535 h 614713"/>
              <a:gd name="connsiteX791" fmla="*/ 502825 w 736968"/>
              <a:gd name="connsiteY791" fmla="*/ 398475 h 614713"/>
              <a:gd name="connsiteX792" fmla="*/ 475036 w 736968"/>
              <a:gd name="connsiteY792" fmla="*/ 370720 h 614713"/>
              <a:gd name="connsiteX793" fmla="*/ 469067 w 736968"/>
              <a:gd name="connsiteY793" fmla="*/ 375982 h 614713"/>
              <a:gd name="connsiteX794" fmla="*/ 472935 w 736968"/>
              <a:gd name="connsiteY794" fmla="*/ 382863 h 614713"/>
              <a:gd name="connsiteX795" fmla="*/ 482713 w 736968"/>
              <a:gd name="connsiteY795" fmla="*/ 392606 h 614713"/>
              <a:gd name="connsiteX796" fmla="*/ 474942 w 736968"/>
              <a:gd name="connsiteY796" fmla="*/ 405587 h 614713"/>
              <a:gd name="connsiteX797" fmla="*/ 478578 w 736968"/>
              <a:gd name="connsiteY797" fmla="*/ 413077 h 614713"/>
              <a:gd name="connsiteX798" fmla="*/ 485063 w 736968"/>
              <a:gd name="connsiteY798" fmla="*/ 250583 h 614713"/>
              <a:gd name="connsiteX799" fmla="*/ 484780 w 736968"/>
              <a:gd name="connsiteY799" fmla="*/ 251080 h 614713"/>
              <a:gd name="connsiteX800" fmla="*/ 513726 w 736968"/>
              <a:gd name="connsiteY800" fmla="*/ 251080 h 614713"/>
              <a:gd name="connsiteX801" fmla="*/ 512727 w 736968"/>
              <a:gd name="connsiteY801" fmla="*/ 238689 h 614713"/>
              <a:gd name="connsiteX802" fmla="*/ 512048 w 736968"/>
              <a:gd name="connsiteY802" fmla="*/ 239966 h 614713"/>
              <a:gd name="connsiteX803" fmla="*/ 509716 w 736968"/>
              <a:gd name="connsiteY803" fmla="*/ 239795 h 614713"/>
              <a:gd name="connsiteX804" fmla="*/ 511801 w 736968"/>
              <a:gd name="connsiteY804" fmla="*/ 232417 h 614713"/>
              <a:gd name="connsiteX805" fmla="*/ 511069 w 736968"/>
              <a:gd name="connsiteY805" fmla="*/ 228441 h 614713"/>
              <a:gd name="connsiteX806" fmla="*/ 506986 w 736968"/>
              <a:gd name="connsiteY806" fmla="*/ 231526 h 614713"/>
              <a:gd name="connsiteX807" fmla="*/ 504028 w 736968"/>
              <a:gd name="connsiteY807" fmla="*/ 236333 h 614713"/>
              <a:gd name="connsiteX808" fmla="*/ 497671 w 736968"/>
              <a:gd name="connsiteY808" fmla="*/ 237267 h 614713"/>
              <a:gd name="connsiteX809" fmla="*/ 491735 w 736968"/>
              <a:gd name="connsiteY809" fmla="*/ 244559 h 614713"/>
              <a:gd name="connsiteX810" fmla="*/ 485063 w 736968"/>
              <a:gd name="connsiteY810" fmla="*/ 250583 h 614713"/>
              <a:gd name="connsiteX811" fmla="*/ 475036 w 736968"/>
              <a:gd name="connsiteY811" fmla="*/ 157926 h 614713"/>
              <a:gd name="connsiteX812" fmla="*/ 447246 w 736968"/>
              <a:gd name="connsiteY812" fmla="*/ 185690 h 614713"/>
              <a:gd name="connsiteX813" fmla="*/ 459914 w 736968"/>
              <a:gd name="connsiteY813" fmla="*/ 202948 h 614713"/>
              <a:gd name="connsiteX814" fmla="*/ 470516 w 736968"/>
              <a:gd name="connsiteY814" fmla="*/ 208458 h 614713"/>
              <a:gd name="connsiteX815" fmla="*/ 477515 w 736968"/>
              <a:gd name="connsiteY815" fmla="*/ 218672 h 614713"/>
              <a:gd name="connsiteX816" fmla="*/ 479531 w 736968"/>
              <a:gd name="connsiteY816" fmla="*/ 222836 h 614713"/>
              <a:gd name="connsiteX817" fmla="*/ 484154 w 736968"/>
              <a:gd name="connsiteY817" fmla="*/ 222803 h 614713"/>
              <a:gd name="connsiteX818" fmla="*/ 489214 w 736968"/>
              <a:gd name="connsiteY818" fmla="*/ 214430 h 614713"/>
              <a:gd name="connsiteX819" fmla="*/ 499353 w 736968"/>
              <a:gd name="connsiteY819" fmla="*/ 221054 h 614713"/>
              <a:gd name="connsiteX820" fmla="*/ 497079 w 736968"/>
              <a:gd name="connsiteY820" fmla="*/ 225416 h 614713"/>
              <a:gd name="connsiteX821" fmla="*/ 496808 w 736968"/>
              <a:gd name="connsiteY821" fmla="*/ 234293 h 614713"/>
              <a:gd name="connsiteX822" fmla="*/ 504843 w 736968"/>
              <a:gd name="connsiteY822" fmla="*/ 230523 h 614713"/>
              <a:gd name="connsiteX823" fmla="*/ 506899 w 736968"/>
              <a:gd name="connsiteY823" fmla="*/ 224687 h 614713"/>
              <a:gd name="connsiteX824" fmla="*/ 509784 w 736968"/>
              <a:gd name="connsiteY824" fmla="*/ 222579 h 614713"/>
              <a:gd name="connsiteX825" fmla="*/ 502336 w 736968"/>
              <a:gd name="connsiteY825" fmla="*/ 199992 h 614713"/>
              <a:gd name="connsiteX826" fmla="*/ 499669 w 736968"/>
              <a:gd name="connsiteY826" fmla="*/ 198329 h 614713"/>
              <a:gd name="connsiteX827" fmla="*/ 496541 w 736968"/>
              <a:gd name="connsiteY827" fmla="*/ 195399 h 614713"/>
              <a:gd name="connsiteX828" fmla="*/ 492550 w 736968"/>
              <a:gd name="connsiteY828" fmla="*/ 189057 h 614713"/>
              <a:gd name="connsiteX829" fmla="*/ 496619 w 736968"/>
              <a:gd name="connsiteY829" fmla="*/ 189649 h 614713"/>
              <a:gd name="connsiteX830" fmla="*/ 497123 w 736968"/>
              <a:gd name="connsiteY830" fmla="*/ 189024 h 614713"/>
              <a:gd name="connsiteX831" fmla="*/ 475036 w 736968"/>
              <a:gd name="connsiteY831" fmla="*/ 157926 h 614713"/>
              <a:gd name="connsiteX832" fmla="*/ 441319 w 736968"/>
              <a:gd name="connsiteY832" fmla="*/ 195622 h 614713"/>
              <a:gd name="connsiteX833" fmla="*/ 437949 w 736968"/>
              <a:gd name="connsiteY833" fmla="*/ 194979 h 614713"/>
              <a:gd name="connsiteX834" fmla="*/ 428762 w 736968"/>
              <a:gd name="connsiteY834" fmla="*/ 204148 h 614713"/>
              <a:gd name="connsiteX835" fmla="*/ 434663 w 736968"/>
              <a:gd name="connsiteY835" fmla="*/ 204945 h 614713"/>
              <a:gd name="connsiteX836" fmla="*/ 439654 w 736968"/>
              <a:gd name="connsiteY836" fmla="*/ 198844 h 614713"/>
              <a:gd name="connsiteX837" fmla="*/ 441293 w 736968"/>
              <a:gd name="connsiteY837" fmla="*/ 203214 h 614713"/>
              <a:gd name="connsiteX838" fmla="*/ 438857 w 736968"/>
              <a:gd name="connsiteY838" fmla="*/ 207181 h 614713"/>
              <a:gd name="connsiteX839" fmla="*/ 441079 w 736968"/>
              <a:gd name="connsiteY839" fmla="*/ 211689 h 614713"/>
              <a:gd name="connsiteX840" fmla="*/ 442914 w 736968"/>
              <a:gd name="connsiteY840" fmla="*/ 215510 h 614713"/>
              <a:gd name="connsiteX841" fmla="*/ 443789 w 736968"/>
              <a:gd name="connsiteY841" fmla="*/ 209863 h 614713"/>
              <a:gd name="connsiteX842" fmla="*/ 448678 w 736968"/>
              <a:gd name="connsiteY842" fmla="*/ 210352 h 614713"/>
              <a:gd name="connsiteX843" fmla="*/ 450231 w 736968"/>
              <a:gd name="connsiteY843" fmla="*/ 208158 h 614713"/>
              <a:gd name="connsiteX844" fmla="*/ 441319 w 736968"/>
              <a:gd name="connsiteY844" fmla="*/ 195622 h 614713"/>
              <a:gd name="connsiteX845" fmla="*/ 426995 w 736968"/>
              <a:gd name="connsiteY845" fmla="*/ 341397 h 614713"/>
              <a:gd name="connsiteX846" fmla="*/ 424524 w 736968"/>
              <a:gd name="connsiteY846" fmla="*/ 342442 h 614713"/>
              <a:gd name="connsiteX847" fmla="*/ 442503 w 736968"/>
              <a:gd name="connsiteY847" fmla="*/ 351020 h 614713"/>
              <a:gd name="connsiteX848" fmla="*/ 453319 w 736968"/>
              <a:gd name="connsiteY848" fmla="*/ 351380 h 614713"/>
              <a:gd name="connsiteX849" fmla="*/ 460112 w 736968"/>
              <a:gd name="connsiteY849" fmla="*/ 352331 h 614713"/>
              <a:gd name="connsiteX850" fmla="*/ 465884 w 736968"/>
              <a:gd name="connsiteY850" fmla="*/ 346590 h 614713"/>
              <a:gd name="connsiteX851" fmla="*/ 470164 w 736968"/>
              <a:gd name="connsiteY851" fmla="*/ 339272 h 614713"/>
              <a:gd name="connsiteX852" fmla="*/ 474925 w 736968"/>
              <a:gd name="connsiteY852" fmla="*/ 352323 h 614713"/>
              <a:gd name="connsiteX853" fmla="*/ 474616 w 736968"/>
              <a:gd name="connsiteY853" fmla="*/ 354791 h 614713"/>
              <a:gd name="connsiteX854" fmla="*/ 475036 w 736968"/>
              <a:gd name="connsiteY854" fmla="*/ 355211 h 614713"/>
              <a:gd name="connsiteX855" fmla="*/ 513726 w 736968"/>
              <a:gd name="connsiteY855" fmla="*/ 262048 h 614713"/>
              <a:gd name="connsiteX856" fmla="*/ 483845 w 736968"/>
              <a:gd name="connsiteY856" fmla="*/ 262048 h 614713"/>
              <a:gd name="connsiteX857" fmla="*/ 488535 w 736968"/>
              <a:gd name="connsiteY857" fmla="*/ 269811 h 614713"/>
              <a:gd name="connsiteX858" fmla="*/ 493476 w 736968"/>
              <a:gd name="connsiteY858" fmla="*/ 278081 h 614713"/>
              <a:gd name="connsiteX859" fmla="*/ 501899 w 736968"/>
              <a:gd name="connsiteY859" fmla="*/ 284696 h 614713"/>
              <a:gd name="connsiteX860" fmla="*/ 481246 w 736968"/>
              <a:gd name="connsiteY860" fmla="*/ 291320 h 614713"/>
              <a:gd name="connsiteX861" fmla="*/ 477713 w 736968"/>
              <a:gd name="connsiteY861" fmla="*/ 293736 h 614713"/>
              <a:gd name="connsiteX862" fmla="*/ 468474 w 736968"/>
              <a:gd name="connsiteY862" fmla="*/ 299555 h 614713"/>
              <a:gd name="connsiteX863" fmla="*/ 463346 w 736968"/>
              <a:gd name="connsiteY863" fmla="*/ 309537 h 614713"/>
              <a:gd name="connsiteX864" fmla="*/ 453507 w 736968"/>
              <a:gd name="connsiteY864" fmla="*/ 319135 h 614713"/>
              <a:gd name="connsiteX865" fmla="*/ 444527 w 736968"/>
              <a:gd name="connsiteY865" fmla="*/ 324439 h 614713"/>
              <a:gd name="connsiteX866" fmla="*/ 452666 w 736968"/>
              <a:gd name="connsiteY866" fmla="*/ 324971 h 614713"/>
              <a:gd name="connsiteX867" fmla="*/ 454185 w 736968"/>
              <a:gd name="connsiteY867" fmla="*/ 324516 h 614713"/>
              <a:gd name="connsiteX868" fmla="*/ 457839 w 736968"/>
              <a:gd name="connsiteY868" fmla="*/ 321663 h 614713"/>
              <a:gd name="connsiteX869" fmla="*/ 459031 w 736968"/>
              <a:gd name="connsiteY869" fmla="*/ 316907 h 614713"/>
              <a:gd name="connsiteX870" fmla="*/ 465807 w 736968"/>
              <a:gd name="connsiteY870" fmla="*/ 314062 h 614713"/>
              <a:gd name="connsiteX871" fmla="*/ 467814 w 736968"/>
              <a:gd name="connsiteY871" fmla="*/ 327858 h 614713"/>
              <a:gd name="connsiteX872" fmla="*/ 459511 w 736968"/>
              <a:gd name="connsiteY872" fmla="*/ 348278 h 614713"/>
              <a:gd name="connsiteX873" fmla="*/ 452521 w 736968"/>
              <a:gd name="connsiteY873" fmla="*/ 347644 h 614713"/>
              <a:gd name="connsiteX874" fmla="*/ 439818 w 736968"/>
              <a:gd name="connsiteY874" fmla="*/ 344662 h 614713"/>
              <a:gd name="connsiteX875" fmla="*/ 426995 w 736968"/>
              <a:gd name="connsiteY875" fmla="*/ 341397 h 614713"/>
              <a:gd name="connsiteX876" fmla="*/ 614306 w 736968"/>
              <a:gd name="connsiteY876" fmla="*/ 262048 h 614713"/>
              <a:gd name="connsiteX877" fmla="*/ 575014 w 736968"/>
              <a:gd name="connsiteY877" fmla="*/ 262048 h 614713"/>
              <a:gd name="connsiteX878" fmla="*/ 518342 w 736968"/>
              <a:gd name="connsiteY878" fmla="*/ 398475 h 614713"/>
              <a:gd name="connsiteX879" fmla="*/ 546244 w 736968"/>
              <a:gd name="connsiteY879" fmla="*/ 426350 h 614713"/>
              <a:gd name="connsiteX880" fmla="*/ 614306 w 736968"/>
              <a:gd name="connsiteY880" fmla="*/ 262048 h 614713"/>
              <a:gd name="connsiteX881" fmla="*/ 546244 w 736968"/>
              <a:gd name="connsiteY881" fmla="*/ 86787 h 614713"/>
              <a:gd name="connsiteX882" fmla="*/ 517135 w 736968"/>
              <a:gd name="connsiteY882" fmla="*/ 115870 h 614713"/>
              <a:gd name="connsiteX883" fmla="*/ 531876 w 736968"/>
              <a:gd name="connsiteY883" fmla="*/ 133556 h 614713"/>
              <a:gd name="connsiteX884" fmla="*/ 540440 w 736968"/>
              <a:gd name="connsiteY884" fmla="*/ 142022 h 614713"/>
              <a:gd name="connsiteX885" fmla="*/ 555724 w 736968"/>
              <a:gd name="connsiteY885" fmla="*/ 167112 h 614713"/>
              <a:gd name="connsiteX886" fmla="*/ 555021 w 736968"/>
              <a:gd name="connsiteY886" fmla="*/ 167721 h 614713"/>
              <a:gd name="connsiteX887" fmla="*/ 575004 w 736968"/>
              <a:gd name="connsiteY887" fmla="*/ 251080 h 614713"/>
              <a:gd name="connsiteX888" fmla="*/ 614306 w 736968"/>
              <a:gd name="connsiteY888" fmla="*/ 251080 h 614713"/>
              <a:gd name="connsiteX889" fmla="*/ 546244 w 736968"/>
              <a:gd name="connsiteY889" fmla="*/ 86787 h 614713"/>
              <a:gd name="connsiteX890" fmla="*/ 374030 w 736968"/>
              <a:gd name="connsiteY890" fmla="*/ 50292 h 614713"/>
              <a:gd name="connsiteX891" fmla="*/ 466605 w 736968"/>
              <a:gd name="connsiteY891" fmla="*/ 74824 h 614713"/>
              <a:gd name="connsiteX892" fmla="*/ 473578 w 736968"/>
              <a:gd name="connsiteY892" fmla="*/ 73274 h 614713"/>
              <a:gd name="connsiteX893" fmla="*/ 487274 w 736968"/>
              <a:gd name="connsiteY893" fmla="*/ 77275 h 614713"/>
              <a:gd name="connsiteX894" fmla="*/ 495983 w 736968"/>
              <a:gd name="connsiteY894" fmla="*/ 83479 h 614713"/>
              <a:gd name="connsiteX895" fmla="*/ 506060 w 736968"/>
              <a:gd name="connsiteY895" fmla="*/ 96401 h 614713"/>
              <a:gd name="connsiteX896" fmla="*/ 509027 w 736968"/>
              <a:gd name="connsiteY896" fmla="*/ 103788 h 614713"/>
              <a:gd name="connsiteX897" fmla="*/ 511166 w 736968"/>
              <a:gd name="connsiteY897" fmla="*/ 106324 h 614713"/>
              <a:gd name="connsiteX898" fmla="*/ 538490 w 736968"/>
              <a:gd name="connsiteY898" fmla="*/ 79032 h 614713"/>
              <a:gd name="connsiteX899" fmla="*/ 374030 w 736968"/>
              <a:gd name="connsiteY899" fmla="*/ 11037 h 614713"/>
              <a:gd name="connsiteX900" fmla="*/ 374030 w 736968"/>
              <a:gd name="connsiteY900" fmla="*/ 50292 h 614713"/>
              <a:gd name="connsiteX901" fmla="*/ 374030 w 736968"/>
              <a:gd name="connsiteY901" fmla="*/ 100540 h 614713"/>
              <a:gd name="connsiteX902" fmla="*/ 462994 w 736968"/>
              <a:gd name="connsiteY902" fmla="*/ 132306 h 614713"/>
              <a:gd name="connsiteX903" fmla="*/ 456011 w 736968"/>
              <a:gd name="connsiteY903" fmla="*/ 123325 h 614713"/>
              <a:gd name="connsiteX904" fmla="*/ 445488 w 736968"/>
              <a:gd name="connsiteY904" fmla="*/ 116144 h 614713"/>
              <a:gd name="connsiteX905" fmla="*/ 455823 w 736968"/>
              <a:gd name="connsiteY905" fmla="*/ 119948 h 614713"/>
              <a:gd name="connsiteX906" fmla="*/ 452221 w 736968"/>
              <a:gd name="connsiteY906" fmla="*/ 110960 h 614713"/>
              <a:gd name="connsiteX907" fmla="*/ 462916 w 736968"/>
              <a:gd name="connsiteY907" fmla="*/ 122974 h 614713"/>
              <a:gd name="connsiteX908" fmla="*/ 470868 w 736968"/>
              <a:gd name="connsiteY908" fmla="*/ 125990 h 614713"/>
              <a:gd name="connsiteX909" fmla="*/ 475697 w 736968"/>
              <a:gd name="connsiteY909" fmla="*/ 132425 h 614713"/>
              <a:gd name="connsiteX910" fmla="*/ 477927 w 736968"/>
              <a:gd name="connsiteY910" fmla="*/ 135022 h 614713"/>
              <a:gd name="connsiteX911" fmla="*/ 475148 w 736968"/>
              <a:gd name="connsiteY911" fmla="*/ 134148 h 614713"/>
              <a:gd name="connsiteX912" fmla="*/ 477026 w 736968"/>
              <a:gd name="connsiteY912" fmla="*/ 140437 h 614713"/>
              <a:gd name="connsiteX913" fmla="*/ 490082 w 736968"/>
              <a:gd name="connsiteY913" fmla="*/ 127387 h 614713"/>
              <a:gd name="connsiteX914" fmla="*/ 481838 w 736968"/>
              <a:gd name="connsiteY914" fmla="*/ 117841 h 614713"/>
              <a:gd name="connsiteX915" fmla="*/ 475637 w 736968"/>
              <a:gd name="connsiteY915" fmla="*/ 120977 h 614713"/>
              <a:gd name="connsiteX916" fmla="*/ 471177 w 736968"/>
              <a:gd name="connsiteY916" fmla="*/ 121997 h 614713"/>
              <a:gd name="connsiteX917" fmla="*/ 471417 w 736968"/>
              <a:gd name="connsiteY917" fmla="*/ 116778 h 614713"/>
              <a:gd name="connsiteX918" fmla="*/ 469658 w 736968"/>
              <a:gd name="connsiteY918" fmla="*/ 112648 h 614713"/>
              <a:gd name="connsiteX919" fmla="*/ 468037 w 736968"/>
              <a:gd name="connsiteY919" fmla="*/ 103170 h 614713"/>
              <a:gd name="connsiteX920" fmla="*/ 462445 w 736968"/>
              <a:gd name="connsiteY920" fmla="*/ 94071 h 614713"/>
              <a:gd name="connsiteX921" fmla="*/ 456783 w 736968"/>
              <a:gd name="connsiteY921" fmla="*/ 82074 h 614713"/>
              <a:gd name="connsiteX922" fmla="*/ 374030 w 736968"/>
              <a:gd name="connsiteY922" fmla="*/ 61260 h 614713"/>
              <a:gd name="connsiteX923" fmla="*/ 374030 w 736968"/>
              <a:gd name="connsiteY923" fmla="*/ 100540 h 614713"/>
              <a:gd name="connsiteX924" fmla="*/ 374030 w 736968"/>
              <a:gd name="connsiteY924" fmla="*/ 150797 h 614713"/>
              <a:gd name="connsiteX925" fmla="*/ 439483 w 736968"/>
              <a:gd name="connsiteY925" fmla="*/ 177935 h 614713"/>
              <a:gd name="connsiteX926" fmla="*/ 467283 w 736968"/>
              <a:gd name="connsiteY926" fmla="*/ 150172 h 614713"/>
              <a:gd name="connsiteX927" fmla="*/ 374030 w 736968"/>
              <a:gd name="connsiteY927" fmla="*/ 111517 h 614713"/>
              <a:gd name="connsiteX928" fmla="*/ 374030 w 736968"/>
              <a:gd name="connsiteY928" fmla="*/ 150797 h 614713"/>
              <a:gd name="connsiteX929" fmla="*/ 374030 w 736968"/>
              <a:gd name="connsiteY929" fmla="*/ 201140 h 614713"/>
              <a:gd name="connsiteX930" fmla="*/ 385034 w 736968"/>
              <a:gd name="connsiteY930" fmla="*/ 203368 h 614713"/>
              <a:gd name="connsiteX931" fmla="*/ 390232 w 736968"/>
              <a:gd name="connsiteY931" fmla="*/ 198638 h 614713"/>
              <a:gd name="connsiteX932" fmla="*/ 393826 w 736968"/>
              <a:gd name="connsiteY932" fmla="*/ 199546 h 614713"/>
              <a:gd name="connsiteX933" fmla="*/ 390773 w 736968"/>
              <a:gd name="connsiteY933" fmla="*/ 205476 h 614713"/>
              <a:gd name="connsiteX934" fmla="*/ 401692 w 736968"/>
              <a:gd name="connsiteY934" fmla="*/ 211766 h 614713"/>
              <a:gd name="connsiteX935" fmla="*/ 403888 w 736968"/>
              <a:gd name="connsiteY935" fmla="*/ 213496 h 614713"/>
              <a:gd name="connsiteX936" fmla="*/ 407662 w 736968"/>
              <a:gd name="connsiteY936" fmla="*/ 209726 h 614713"/>
              <a:gd name="connsiteX937" fmla="*/ 407593 w 736968"/>
              <a:gd name="connsiteY937" fmla="*/ 209306 h 614713"/>
              <a:gd name="connsiteX938" fmla="*/ 414352 w 736968"/>
              <a:gd name="connsiteY938" fmla="*/ 203042 h 614713"/>
              <a:gd name="connsiteX939" fmla="*/ 426608 w 736968"/>
              <a:gd name="connsiteY939" fmla="*/ 190798 h 614713"/>
              <a:gd name="connsiteX940" fmla="*/ 425682 w 736968"/>
              <a:gd name="connsiteY940" fmla="*/ 190643 h 614713"/>
              <a:gd name="connsiteX941" fmla="*/ 420090 w 736968"/>
              <a:gd name="connsiteY941" fmla="*/ 192905 h 614713"/>
              <a:gd name="connsiteX942" fmla="*/ 428728 w 736968"/>
              <a:gd name="connsiteY942" fmla="*/ 186719 h 614713"/>
              <a:gd name="connsiteX943" fmla="*/ 430142 w 736968"/>
              <a:gd name="connsiteY943" fmla="*/ 187267 h 614713"/>
              <a:gd name="connsiteX944" fmla="*/ 431703 w 736968"/>
              <a:gd name="connsiteY944" fmla="*/ 185707 h 614713"/>
              <a:gd name="connsiteX945" fmla="*/ 374030 w 736968"/>
              <a:gd name="connsiteY945" fmla="*/ 161783 h 614713"/>
              <a:gd name="connsiteX946" fmla="*/ 374030 w 736968"/>
              <a:gd name="connsiteY946" fmla="*/ 201140 h 614713"/>
              <a:gd name="connsiteX947" fmla="*/ 368541 w 736968"/>
              <a:gd name="connsiteY947" fmla="*/ 211834 h 614713"/>
              <a:gd name="connsiteX948" fmla="*/ 355177 w 736968"/>
              <a:gd name="connsiteY948" fmla="*/ 213856 h 614713"/>
              <a:gd name="connsiteX949" fmla="*/ 354508 w 736968"/>
              <a:gd name="connsiteY949" fmla="*/ 215450 h 614713"/>
              <a:gd name="connsiteX950" fmla="*/ 359320 w 736968"/>
              <a:gd name="connsiteY950" fmla="*/ 216762 h 614713"/>
              <a:gd name="connsiteX951" fmla="*/ 356035 w 736968"/>
              <a:gd name="connsiteY951" fmla="*/ 218972 h 614713"/>
              <a:gd name="connsiteX952" fmla="*/ 359148 w 736968"/>
              <a:gd name="connsiteY952" fmla="*/ 221526 h 614713"/>
              <a:gd name="connsiteX953" fmla="*/ 356155 w 736968"/>
              <a:gd name="connsiteY953" fmla="*/ 227250 h 614713"/>
              <a:gd name="connsiteX954" fmla="*/ 344069 w 736968"/>
              <a:gd name="connsiteY954" fmla="*/ 231808 h 614713"/>
              <a:gd name="connsiteX955" fmla="*/ 340981 w 736968"/>
              <a:gd name="connsiteY955" fmla="*/ 237010 h 614713"/>
              <a:gd name="connsiteX956" fmla="*/ 331804 w 736968"/>
              <a:gd name="connsiteY956" fmla="*/ 244345 h 614713"/>
              <a:gd name="connsiteX957" fmla="*/ 336452 w 736968"/>
              <a:gd name="connsiteY957" fmla="*/ 242511 h 614713"/>
              <a:gd name="connsiteX958" fmla="*/ 342732 w 736968"/>
              <a:gd name="connsiteY958" fmla="*/ 239418 h 614713"/>
              <a:gd name="connsiteX959" fmla="*/ 343778 w 736968"/>
              <a:gd name="connsiteY959" fmla="*/ 244413 h 614713"/>
              <a:gd name="connsiteX960" fmla="*/ 336144 w 736968"/>
              <a:gd name="connsiteY960" fmla="*/ 249640 h 614713"/>
              <a:gd name="connsiteX961" fmla="*/ 332224 w 736968"/>
              <a:gd name="connsiteY961" fmla="*/ 249384 h 614713"/>
              <a:gd name="connsiteX962" fmla="*/ 339258 w 736968"/>
              <a:gd name="connsiteY962" fmla="*/ 252546 h 614713"/>
              <a:gd name="connsiteX963" fmla="*/ 334445 w 736968"/>
              <a:gd name="connsiteY963" fmla="*/ 256213 h 614713"/>
              <a:gd name="connsiteX964" fmla="*/ 335552 w 736968"/>
              <a:gd name="connsiteY964" fmla="*/ 258090 h 614713"/>
              <a:gd name="connsiteX965" fmla="*/ 340612 w 736968"/>
              <a:gd name="connsiteY965" fmla="*/ 258493 h 614713"/>
              <a:gd name="connsiteX966" fmla="*/ 331907 w 736968"/>
              <a:gd name="connsiteY966" fmla="*/ 275116 h 614713"/>
              <a:gd name="connsiteX967" fmla="*/ 328210 w 736968"/>
              <a:gd name="connsiteY967" fmla="*/ 275956 h 614713"/>
              <a:gd name="connsiteX968" fmla="*/ 333991 w 736968"/>
              <a:gd name="connsiteY968" fmla="*/ 284936 h 614713"/>
              <a:gd name="connsiteX969" fmla="*/ 339000 w 736968"/>
              <a:gd name="connsiteY969" fmla="*/ 278767 h 614713"/>
              <a:gd name="connsiteX970" fmla="*/ 340518 w 736968"/>
              <a:gd name="connsiteY970" fmla="*/ 276547 h 614713"/>
              <a:gd name="connsiteX971" fmla="*/ 343049 w 736968"/>
              <a:gd name="connsiteY971" fmla="*/ 274911 h 614713"/>
              <a:gd name="connsiteX972" fmla="*/ 347989 w 736968"/>
              <a:gd name="connsiteY972" fmla="*/ 268313 h 614713"/>
              <a:gd name="connsiteX973" fmla="*/ 347311 w 736968"/>
              <a:gd name="connsiteY973" fmla="*/ 264542 h 614713"/>
              <a:gd name="connsiteX974" fmla="*/ 349568 w 736968"/>
              <a:gd name="connsiteY974" fmla="*/ 262700 h 614713"/>
              <a:gd name="connsiteX975" fmla="*/ 353110 w 736968"/>
              <a:gd name="connsiteY975" fmla="*/ 263557 h 614713"/>
              <a:gd name="connsiteX976" fmla="*/ 359122 w 736968"/>
              <a:gd name="connsiteY976" fmla="*/ 264825 h 614713"/>
              <a:gd name="connsiteX977" fmla="*/ 363523 w 736968"/>
              <a:gd name="connsiteY977" fmla="*/ 266521 h 614713"/>
              <a:gd name="connsiteX978" fmla="*/ 363754 w 736968"/>
              <a:gd name="connsiteY978" fmla="*/ 269761 h 614713"/>
              <a:gd name="connsiteX979" fmla="*/ 365289 w 736968"/>
              <a:gd name="connsiteY979" fmla="*/ 269906 h 614713"/>
              <a:gd name="connsiteX980" fmla="*/ 361344 w 736968"/>
              <a:gd name="connsiteY980" fmla="*/ 275896 h 614713"/>
              <a:gd name="connsiteX981" fmla="*/ 355160 w 736968"/>
              <a:gd name="connsiteY981" fmla="*/ 287790 h 614713"/>
              <a:gd name="connsiteX982" fmla="*/ 348504 w 736968"/>
              <a:gd name="connsiteY982" fmla="*/ 287953 h 614713"/>
              <a:gd name="connsiteX983" fmla="*/ 344635 w 736968"/>
              <a:gd name="connsiteY983" fmla="*/ 289033 h 614713"/>
              <a:gd name="connsiteX984" fmla="*/ 339077 w 736968"/>
              <a:gd name="connsiteY984" fmla="*/ 290189 h 614713"/>
              <a:gd name="connsiteX985" fmla="*/ 368540 w 736968"/>
              <a:gd name="connsiteY985" fmla="*/ 301303 h 614713"/>
              <a:gd name="connsiteX986" fmla="*/ 375660 w 736968"/>
              <a:gd name="connsiteY986" fmla="*/ 300703 h 614713"/>
              <a:gd name="connsiteX987" fmla="*/ 378018 w 736968"/>
              <a:gd name="connsiteY987" fmla="*/ 294217 h 614713"/>
              <a:gd name="connsiteX988" fmla="*/ 378645 w 736968"/>
              <a:gd name="connsiteY988" fmla="*/ 290172 h 614713"/>
              <a:gd name="connsiteX989" fmla="*/ 384331 w 736968"/>
              <a:gd name="connsiteY989" fmla="*/ 284782 h 614713"/>
              <a:gd name="connsiteX990" fmla="*/ 388328 w 736968"/>
              <a:gd name="connsiteY990" fmla="*/ 285382 h 614713"/>
              <a:gd name="connsiteX991" fmla="*/ 394152 w 736968"/>
              <a:gd name="connsiteY991" fmla="*/ 286753 h 614713"/>
              <a:gd name="connsiteX992" fmla="*/ 389838 w 736968"/>
              <a:gd name="connsiteY992" fmla="*/ 289495 h 614713"/>
              <a:gd name="connsiteX993" fmla="*/ 394341 w 736968"/>
              <a:gd name="connsiteY993" fmla="*/ 290386 h 614713"/>
              <a:gd name="connsiteX994" fmla="*/ 395542 w 736968"/>
              <a:gd name="connsiteY994" fmla="*/ 284465 h 614713"/>
              <a:gd name="connsiteX995" fmla="*/ 396254 w 736968"/>
              <a:gd name="connsiteY995" fmla="*/ 282614 h 614713"/>
              <a:gd name="connsiteX996" fmla="*/ 398724 w 736968"/>
              <a:gd name="connsiteY996" fmla="*/ 276128 h 614713"/>
              <a:gd name="connsiteX997" fmla="*/ 393723 w 736968"/>
              <a:gd name="connsiteY997" fmla="*/ 275630 h 614713"/>
              <a:gd name="connsiteX998" fmla="*/ 390310 w 736968"/>
              <a:gd name="connsiteY998" fmla="*/ 270574 h 614713"/>
              <a:gd name="connsiteX999" fmla="*/ 395593 w 736968"/>
              <a:gd name="connsiteY999" fmla="*/ 274182 h 614713"/>
              <a:gd name="connsiteX1000" fmla="*/ 400019 w 736968"/>
              <a:gd name="connsiteY1000" fmla="*/ 270232 h 614713"/>
              <a:gd name="connsiteX1001" fmla="*/ 395585 w 736968"/>
              <a:gd name="connsiteY1001" fmla="*/ 266204 h 614713"/>
              <a:gd name="connsiteX1002" fmla="*/ 398475 w 736968"/>
              <a:gd name="connsiteY1002" fmla="*/ 265073 h 614713"/>
              <a:gd name="connsiteX1003" fmla="*/ 396631 w 736968"/>
              <a:gd name="connsiteY1003" fmla="*/ 260772 h 614713"/>
              <a:gd name="connsiteX1004" fmla="*/ 390686 w 736968"/>
              <a:gd name="connsiteY1004" fmla="*/ 252357 h 614713"/>
              <a:gd name="connsiteX1005" fmla="*/ 386887 w 736968"/>
              <a:gd name="connsiteY1005" fmla="*/ 254807 h 614713"/>
              <a:gd name="connsiteX1006" fmla="*/ 385223 w 736968"/>
              <a:gd name="connsiteY1006" fmla="*/ 253522 h 614713"/>
              <a:gd name="connsiteX1007" fmla="*/ 389495 w 736968"/>
              <a:gd name="connsiteY1007" fmla="*/ 248467 h 614713"/>
              <a:gd name="connsiteX1008" fmla="*/ 393543 w 736968"/>
              <a:gd name="connsiteY1008" fmla="*/ 244482 h 614713"/>
              <a:gd name="connsiteX1009" fmla="*/ 390764 w 736968"/>
              <a:gd name="connsiteY1009" fmla="*/ 238707 h 614713"/>
              <a:gd name="connsiteX1010" fmla="*/ 387531 w 736968"/>
              <a:gd name="connsiteY1010" fmla="*/ 233651 h 614713"/>
              <a:gd name="connsiteX1011" fmla="*/ 383851 w 736968"/>
              <a:gd name="connsiteY1011" fmla="*/ 228801 h 614713"/>
              <a:gd name="connsiteX1012" fmla="*/ 380094 w 736968"/>
              <a:gd name="connsiteY1012" fmla="*/ 226290 h 614713"/>
              <a:gd name="connsiteX1013" fmla="*/ 373498 w 736968"/>
              <a:gd name="connsiteY1013" fmla="*/ 223334 h 614713"/>
              <a:gd name="connsiteX1014" fmla="*/ 365255 w 736968"/>
              <a:gd name="connsiteY1014" fmla="*/ 218509 h 614713"/>
              <a:gd name="connsiteX1015" fmla="*/ 362262 w 736968"/>
              <a:gd name="connsiteY1015" fmla="*/ 215545 h 614713"/>
              <a:gd name="connsiteX1016" fmla="*/ 368540 w 736968"/>
              <a:gd name="connsiteY1016" fmla="*/ 215142 h 614713"/>
              <a:gd name="connsiteX1017" fmla="*/ 369398 w 736968"/>
              <a:gd name="connsiteY1017" fmla="*/ 211868 h 614713"/>
              <a:gd name="connsiteX1018" fmla="*/ 368540 w 736968"/>
              <a:gd name="connsiteY1018" fmla="*/ 211834 h 614713"/>
              <a:gd name="connsiteX1019" fmla="*/ 198590 w 736968"/>
              <a:gd name="connsiteY1019" fmla="*/ 79032 h 614713"/>
              <a:gd name="connsiteX1020" fmla="*/ 226492 w 736968"/>
              <a:gd name="connsiteY1020" fmla="*/ 106907 h 614713"/>
              <a:gd name="connsiteX1021" fmla="*/ 363051 w 736968"/>
              <a:gd name="connsiteY1021" fmla="*/ 50292 h 614713"/>
              <a:gd name="connsiteX1022" fmla="*/ 363051 w 736968"/>
              <a:gd name="connsiteY1022" fmla="*/ 11037 h 614713"/>
              <a:gd name="connsiteX1023" fmla="*/ 198590 w 736968"/>
              <a:gd name="connsiteY1023" fmla="*/ 79032 h 614713"/>
              <a:gd name="connsiteX1024" fmla="*/ 122766 w 736968"/>
              <a:gd name="connsiteY1024" fmla="*/ 251080 h 614713"/>
              <a:gd name="connsiteX1025" fmla="*/ 162068 w 736968"/>
              <a:gd name="connsiteY1025" fmla="*/ 251080 h 614713"/>
              <a:gd name="connsiteX1026" fmla="*/ 218729 w 736968"/>
              <a:gd name="connsiteY1026" fmla="*/ 114662 h 614713"/>
              <a:gd name="connsiteX1027" fmla="*/ 190827 w 736968"/>
              <a:gd name="connsiteY1027" fmla="*/ 86787 h 614713"/>
              <a:gd name="connsiteX1028" fmla="*/ 122766 w 736968"/>
              <a:gd name="connsiteY1028" fmla="*/ 251080 h 61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Lst>
            <a:rect l="l" t="t" r="r" b="b"/>
            <a:pathLst>
              <a:path w="736968" h="614713">
                <a:moveTo>
                  <a:pt x="586884" y="559057"/>
                </a:moveTo>
                <a:cubicBezTo>
                  <a:pt x="587228" y="558979"/>
                  <a:pt x="587699" y="559357"/>
                  <a:pt x="587869" y="559556"/>
                </a:cubicBezTo>
                <a:cubicBezTo>
                  <a:pt x="574446" y="573299"/>
                  <a:pt x="557232" y="582717"/>
                  <a:pt x="540711" y="587411"/>
                </a:cubicBezTo>
                <a:cubicBezTo>
                  <a:pt x="528458" y="590894"/>
                  <a:pt x="516112" y="591475"/>
                  <a:pt x="503480" y="590061"/>
                </a:cubicBezTo>
                <a:cubicBezTo>
                  <a:pt x="484042" y="587886"/>
                  <a:pt x="466897" y="580106"/>
                  <a:pt x="450805" y="569540"/>
                </a:cubicBezTo>
                <a:cubicBezTo>
                  <a:pt x="441173" y="563213"/>
                  <a:pt x="431644" y="556736"/>
                  <a:pt x="422114" y="550259"/>
                </a:cubicBezTo>
                <a:cubicBezTo>
                  <a:pt x="411169" y="542813"/>
                  <a:pt x="399093" y="541447"/>
                  <a:pt x="386381" y="543521"/>
                </a:cubicBezTo>
                <a:cubicBezTo>
                  <a:pt x="379494" y="544267"/>
                  <a:pt x="384717" y="547575"/>
                  <a:pt x="385772" y="548099"/>
                </a:cubicBezTo>
                <a:cubicBezTo>
                  <a:pt x="402850" y="556455"/>
                  <a:pt x="418923" y="566464"/>
                  <a:pt x="433943" y="578037"/>
                </a:cubicBezTo>
                <a:cubicBezTo>
                  <a:pt x="444150" y="585522"/>
                  <a:pt x="462359" y="603058"/>
                  <a:pt x="462359" y="603058"/>
                </a:cubicBezTo>
                <a:lnTo>
                  <a:pt x="448738" y="614714"/>
                </a:lnTo>
                <a:cubicBezTo>
                  <a:pt x="448738" y="614714"/>
                  <a:pt x="438342" y="603078"/>
                  <a:pt x="433814" y="598553"/>
                </a:cubicBezTo>
                <a:cubicBezTo>
                  <a:pt x="403930" y="567457"/>
                  <a:pt x="377469" y="553786"/>
                  <a:pt x="371602" y="550414"/>
                </a:cubicBezTo>
                <a:cubicBezTo>
                  <a:pt x="370573" y="549823"/>
                  <a:pt x="369587" y="549256"/>
                  <a:pt x="368540" y="549256"/>
                </a:cubicBezTo>
                <a:cubicBezTo>
                  <a:pt x="367494" y="549256"/>
                  <a:pt x="366508" y="549823"/>
                  <a:pt x="365479" y="550414"/>
                </a:cubicBezTo>
                <a:cubicBezTo>
                  <a:pt x="359612" y="553786"/>
                  <a:pt x="333151" y="567457"/>
                  <a:pt x="303259" y="598553"/>
                </a:cubicBezTo>
                <a:cubicBezTo>
                  <a:pt x="298738" y="603078"/>
                  <a:pt x="288343" y="614714"/>
                  <a:pt x="288343" y="614714"/>
                </a:cubicBezTo>
                <a:lnTo>
                  <a:pt x="274713" y="603058"/>
                </a:lnTo>
                <a:cubicBezTo>
                  <a:pt x="274713" y="603058"/>
                  <a:pt x="292931" y="585522"/>
                  <a:pt x="303139" y="578037"/>
                </a:cubicBezTo>
                <a:cubicBezTo>
                  <a:pt x="318157" y="566464"/>
                  <a:pt x="334231" y="556455"/>
                  <a:pt x="351309" y="548099"/>
                </a:cubicBezTo>
                <a:cubicBezTo>
                  <a:pt x="352364" y="547575"/>
                  <a:pt x="357587" y="544267"/>
                  <a:pt x="350700" y="543521"/>
                </a:cubicBezTo>
                <a:cubicBezTo>
                  <a:pt x="337988" y="541447"/>
                  <a:pt x="325911" y="542813"/>
                  <a:pt x="314967" y="550259"/>
                </a:cubicBezTo>
                <a:cubicBezTo>
                  <a:pt x="305437" y="556736"/>
                  <a:pt x="295900" y="563213"/>
                  <a:pt x="286267" y="569540"/>
                </a:cubicBezTo>
                <a:cubicBezTo>
                  <a:pt x="270184" y="580106"/>
                  <a:pt x="253039" y="587886"/>
                  <a:pt x="233594" y="590061"/>
                </a:cubicBezTo>
                <a:cubicBezTo>
                  <a:pt x="220968" y="591475"/>
                  <a:pt x="208625" y="590894"/>
                  <a:pt x="196368" y="587411"/>
                </a:cubicBezTo>
                <a:cubicBezTo>
                  <a:pt x="179848" y="582717"/>
                  <a:pt x="162591" y="573241"/>
                  <a:pt x="149168" y="559498"/>
                </a:cubicBezTo>
                <a:cubicBezTo>
                  <a:pt x="149339" y="559299"/>
                  <a:pt x="149854" y="558979"/>
                  <a:pt x="150197" y="559057"/>
                </a:cubicBezTo>
                <a:cubicBezTo>
                  <a:pt x="151338" y="559565"/>
                  <a:pt x="152040" y="559924"/>
                  <a:pt x="153148" y="560500"/>
                </a:cubicBezTo>
                <a:cubicBezTo>
                  <a:pt x="173099" y="570756"/>
                  <a:pt x="194121" y="571948"/>
                  <a:pt x="215727" y="567791"/>
                </a:cubicBezTo>
                <a:cubicBezTo>
                  <a:pt x="230480" y="564952"/>
                  <a:pt x="244187" y="559052"/>
                  <a:pt x="257919" y="553190"/>
                </a:cubicBezTo>
                <a:cubicBezTo>
                  <a:pt x="267757" y="549000"/>
                  <a:pt x="277475" y="544378"/>
                  <a:pt x="287605" y="541036"/>
                </a:cubicBezTo>
                <a:cubicBezTo>
                  <a:pt x="313860" y="532384"/>
                  <a:pt x="340467" y="532485"/>
                  <a:pt x="367185" y="539248"/>
                </a:cubicBezTo>
                <a:cubicBezTo>
                  <a:pt x="367623" y="539369"/>
                  <a:pt x="368077" y="539427"/>
                  <a:pt x="368541" y="539485"/>
                </a:cubicBezTo>
                <a:cubicBezTo>
                  <a:pt x="368995" y="539427"/>
                  <a:pt x="369459" y="539369"/>
                  <a:pt x="369896" y="539248"/>
                </a:cubicBezTo>
                <a:cubicBezTo>
                  <a:pt x="396614" y="532485"/>
                  <a:pt x="423220" y="532384"/>
                  <a:pt x="449476" y="541036"/>
                </a:cubicBezTo>
                <a:cubicBezTo>
                  <a:pt x="459606" y="544378"/>
                  <a:pt x="469324" y="549000"/>
                  <a:pt x="479162" y="553190"/>
                </a:cubicBezTo>
                <a:cubicBezTo>
                  <a:pt x="492885" y="559052"/>
                  <a:pt x="506603" y="564952"/>
                  <a:pt x="521354" y="567791"/>
                </a:cubicBezTo>
                <a:cubicBezTo>
                  <a:pt x="542961" y="571948"/>
                  <a:pt x="563982" y="570756"/>
                  <a:pt x="583936" y="560500"/>
                </a:cubicBezTo>
                <a:cubicBezTo>
                  <a:pt x="585041" y="559924"/>
                  <a:pt x="585745" y="559565"/>
                  <a:pt x="586884" y="559057"/>
                </a:cubicBezTo>
                <a:close/>
                <a:moveTo>
                  <a:pt x="649912" y="501893"/>
                </a:moveTo>
                <a:cubicBezTo>
                  <a:pt x="638483" y="510661"/>
                  <a:pt x="631127" y="513563"/>
                  <a:pt x="621647" y="516814"/>
                </a:cubicBezTo>
                <a:cubicBezTo>
                  <a:pt x="607401" y="521697"/>
                  <a:pt x="592048" y="522685"/>
                  <a:pt x="577167" y="523465"/>
                </a:cubicBezTo>
                <a:cubicBezTo>
                  <a:pt x="557499" y="524492"/>
                  <a:pt x="538519" y="525340"/>
                  <a:pt x="519133" y="528484"/>
                </a:cubicBezTo>
                <a:lnTo>
                  <a:pt x="518822" y="528537"/>
                </a:lnTo>
                <a:cubicBezTo>
                  <a:pt x="517605" y="528731"/>
                  <a:pt x="517048" y="528217"/>
                  <a:pt x="517440" y="527801"/>
                </a:cubicBezTo>
                <a:cubicBezTo>
                  <a:pt x="517513" y="527728"/>
                  <a:pt x="517639" y="527636"/>
                  <a:pt x="517731" y="527602"/>
                </a:cubicBezTo>
                <a:cubicBezTo>
                  <a:pt x="535018" y="521275"/>
                  <a:pt x="546758" y="507885"/>
                  <a:pt x="555603" y="491071"/>
                </a:cubicBezTo>
                <a:cubicBezTo>
                  <a:pt x="561727" y="479427"/>
                  <a:pt x="571755" y="456676"/>
                  <a:pt x="574543" y="452957"/>
                </a:cubicBezTo>
                <a:cubicBezTo>
                  <a:pt x="574601" y="452880"/>
                  <a:pt x="574534" y="452126"/>
                  <a:pt x="574354" y="451980"/>
                </a:cubicBezTo>
                <a:cubicBezTo>
                  <a:pt x="573040" y="452409"/>
                  <a:pt x="554017" y="468587"/>
                  <a:pt x="545381" y="476599"/>
                </a:cubicBezTo>
                <a:cubicBezTo>
                  <a:pt x="534664" y="486546"/>
                  <a:pt x="524578" y="497174"/>
                  <a:pt x="513857" y="507120"/>
                </a:cubicBezTo>
                <a:cubicBezTo>
                  <a:pt x="497103" y="523102"/>
                  <a:pt x="473020" y="530121"/>
                  <a:pt x="464298" y="532384"/>
                </a:cubicBezTo>
                <a:cubicBezTo>
                  <a:pt x="464100" y="532432"/>
                  <a:pt x="463705" y="532582"/>
                  <a:pt x="463611" y="532694"/>
                </a:cubicBezTo>
                <a:cubicBezTo>
                  <a:pt x="463354" y="533028"/>
                  <a:pt x="463225" y="533333"/>
                  <a:pt x="463174" y="533478"/>
                </a:cubicBezTo>
                <a:cubicBezTo>
                  <a:pt x="463157" y="533541"/>
                  <a:pt x="463183" y="533585"/>
                  <a:pt x="463242" y="533590"/>
                </a:cubicBezTo>
                <a:lnTo>
                  <a:pt x="463637" y="533687"/>
                </a:lnTo>
                <a:cubicBezTo>
                  <a:pt x="470404" y="535227"/>
                  <a:pt x="489951" y="539471"/>
                  <a:pt x="499979" y="542145"/>
                </a:cubicBezTo>
                <a:cubicBezTo>
                  <a:pt x="515399" y="546272"/>
                  <a:pt x="530858" y="549736"/>
                  <a:pt x="546836" y="550860"/>
                </a:cubicBezTo>
                <a:cubicBezTo>
                  <a:pt x="564147" y="552076"/>
                  <a:pt x="581376" y="550259"/>
                  <a:pt x="597470" y="544267"/>
                </a:cubicBezTo>
                <a:cubicBezTo>
                  <a:pt x="615765" y="537456"/>
                  <a:pt x="638313" y="521363"/>
                  <a:pt x="651188" y="502082"/>
                </a:cubicBezTo>
                <a:cubicBezTo>
                  <a:pt x="651222" y="502033"/>
                  <a:pt x="651256" y="501946"/>
                  <a:pt x="651222" y="501927"/>
                </a:cubicBezTo>
                <a:cubicBezTo>
                  <a:pt x="650664" y="501636"/>
                  <a:pt x="650014" y="501825"/>
                  <a:pt x="649912" y="501893"/>
                </a:cubicBezTo>
                <a:close/>
                <a:moveTo>
                  <a:pt x="708819" y="411663"/>
                </a:moveTo>
                <a:cubicBezTo>
                  <a:pt x="708286" y="412348"/>
                  <a:pt x="698655" y="424953"/>
                  <a:pt x="675040" y="441106"/>
                </a:cubicBezTo>
                <a:cubicBezTo>
                  <a:pt x="663582" y="449084"/>
                  <a:pt x="652938" y="454166"/>
                  <a:pt x="640345" y="460001"/>
                </a:cubicBezTo>
                <a:cubicBezTo>
                  <a:pt x="624634" y="467293"/>
                  <a:pt x="611096" y="473951"/>
                  <a:pt x="597736" y="485005"/>
                </a:cubicBezTo>
                <a:cubicBezTo>
                  <a:pt x="596868" y="485718"/>
                  <a:pt x="596146" y="486255"/>
                  <a:pt x="595273" y="486900"/>
                </a:cubicBezTo>
                <a:cubicBezTo>
                  <a:pt x="594803" y="487244"/>
                  <a:pt x="594337" y="486657"/>
                  <a:pt x="594851" y="486061"/>
                </a:cubicBezTo>
                <a:cubicBezTo>
                  <a:pt x="595506" y="485306"/>
                  <a:pt x="615164" y="465194"/>
                  <a:pt x="621075" y="422571"/>
                </a:cubicBezTo>
                <a:cubicBezTo>
                  <a:pt x="623131" y="407696"/>
                  <a:pt x="623422" y="391629"/>
                  <a:pt x="628252" y="377293"/>
                </a:cubicBezTo>
                <a:cubicBezTo>
                  <a:pt x="628387" y="376838"/>
                  <a:pt x="628116" y="376351"/>
                  <a:pt x="627951" y="376127"/>
                </a:cubicBezTo>
                <a:cubicBezTo>
                  <a:pt x="627927" y="376093"/>
                  <a:pt x="627796" y="376179"/>
                  <a:pt x="627772" y="376213"/>
                </a:cubicBezTo>
                <a:cubicBezTo>
                  <a:pt x="613326" y="392717"/>
                  <a:pt x="601300" y="418390"/>
                  <a:pt x="595695" y="434440"/>
                </a:cubicBezTo>
                <a:cubicBezTo>
                  <a:pt x="591724" y="445802"/>
                  <a:pt x="587932" y="457224"/>
                  <a:pt x="583824" y="468535"/>
                </a:cubicBezTo>
                <a:cubicBezTo>
                  <a:pt x="578248" y="483882"/>
                  <a:pt x="570965" y="498289"/>
                  <a:pt x="559147" y="509968"/>
                </a:cubicBezTo>
                <a:cubicBezTo>
                  <a:pt x="558973" y="510148"/>
                  <a:pt x="558081" y="511083"/>
                  <a:pt x="558081" y="511083"/>
                </a:cubicBezTo>
                <a:cubicBezTo>
                  <a:pt x="558081" y="511083"/>
                  <a:pt x="557935" y="511354"/>
                  <a:pt x="557887" y="511785"/>
                </a:cubicBezTo>
                <a:cubicBezTo>
                  <a:pt x="557887" y="511824"/>
                  <a:pt x="557945" y="511911"/>
                  <a:pt x="557979" y="511901"/>
                </a:cubicBezTo>
                <a:cubicBezTo>
                  <a:pt x="559671" y="511611"/>
                  <a:pt x="560777" y="511451"/>
                  <a:pt x="561863" y="511218"/>
                </a:cubicBezTo>
                <a:cubicBezTo>
                  <a:pt x="575023" y="508501"/>
                  <a:pt x="588101" y="505357"/>
                  <a:pt x="601334" y="503152"/>
                </a:cubicBezTo>
                <a:cubicBezTo>
                  <a:pt x="623456" y="499471"/>
                  <a:pt x="642784" y="491623"/>
                  <a:pt x="660605" y="477953"/>
                </a:cubicBezTo>
                <a:cubicBezTo>
                  <a:pt x="678483" y="464242"/>
                  <a:pt x="693612" y="448270"/>
                  <a:pt x="703485" y="427832"/>
                </a:cubicBezTo>
                <a:cubicBezTo>
                  <a:pt x="706050" y="422520"/>
                  <a:pt x="708460" y="417319"/>
                  <a:pt x="710046" y="411501"/>
                </a:cubicBezTo>
                <a:cubicBezTo>
                  <a:pt x="709711" y="411372"/>
                  <a:pt x="709178" y="411397"/>
                  <a:pt x="708819" y="411663"/>
                </a:cubicBezTo>
                <a:close/>
                <a:moveTo>
                  <a:pt x="734621" y="310240"/>
                </a:moveTo>
                <a:cubicBezTo>
                  <a:pt x="728943" y="328329"/>
                  <a:pt x="718672" y="342974"/>
                  <a:pt x="703698" y="358724"/>
                </a:cubicBezTo>
                <a:cubicBezTo>
                  <a:pt x="691954" y="370831"/>
                  <a:pt x="669357" y="393728"/>
                  <a:pt x="658917" y="409606"/>
                </a:cubicBezTo>
                <a:cubicBezTo>
                  <a:pt x="658626" y="410052"/>
                  <a:pt x="657846" y="409855"/>
                  <a:pt x="658137" y="409050"/>
                </a:cubicBezTo>
                <a:cubicBezTo>
                  <a:pt x="663160" y="395228"/>
                  <a:pt x="665308" y="370780"/>
                  <a:pt x="662297" y="351834"/>
                </a:cubicBezTo>
                <a:cubicBezTo>
                  <a:pt x="659722" y="335673"/>
                  <a:pt x="652638" y="318038"/>
                  <a:pt x="650887" y="298261"/>
                </a:cubicBezTo>
                <a:cubicBezTo>
                  <a:pt x="650873" y="298167"/>
                  <a:pt x="650897" y="298149"/>
                  <a:pt x="650863" y="298055"/>
                </a:cubicBezTo>
                <a:cubicBezTo>
                  <a:pt x="650761" y="297798"/>
                  <a:pt x="650320" y="297198"/>
                  <a:pt x="650029" y="297173"/>
                </a:cubicBezTo>
                <a:cubicBezTo>
                  <a:pt x="650024" y="297233"/>
                  <a:pt x="649835" y="297516"/>
                  <a:pt x="649360" y="299049"/>
                </a:cubicBezTo>
                <a:cubicBezTo>
                  <a:pt x="645965" y="310541"/>
                  <a:pt x="641718" y="324936"/>
                  <a:pt x="641014" y="338304"/>
                </a:cubicBezTo>
                <a:cubicBezTo>
                  <a:pt x="640156" y="354431"/>
                  <a:pt x="643201" y="375168"/>
                  <a:pt x="641873" y="391766"/>
                </a:cubicBezTo>
                <a:cubicBezTo>
                  <a:pt x="640331" y="410943"/>
                  <a:pt x="639017" y="429915"/>
                  <a:pt x="630216" y="447310"/>
                </a:cubicBezTo>
                <a:cubicBezTo>
                  <a:pt x="630172" y="447396"/>
                  <a:pt x="630148" y="447498"/>
                  <a:pt x="630114" y="447593"/>
                </a:cubicBezTo>
                <a:cubicBezTo>
                  <a:pt x="629934" y="448056"/>
                  <a:pt x="630424" y="448913"/>
                  <a:pt x="630424" y="448913"/>
                </a:cubicBezTo>
                <a:cubicBezTo>
                  <a:pt x="630424" y="448913"/>
                  <a:pt x="630502" y="448895"/>
                  <a:pt x="630536" y="448870"/>
                </a:cubicBezTo>
                <a:cubicBezTo>
                  <a:pt x="637591" y="444371"/>
                  <a:pt x="657705" y="432520"/>
                  <a:pt x="670967" y="423677"/>
                </a:cubicBezTo>
                <a:cubicBezTo>
                  <a:pt x="687522" y="412631"/>
                  <a:pt x="702161" y="399504"/>
                  <a:pt x="713615" y="382991"/>
                </a:cubicBezTo>
                <a:cubicBezTo>
                  <a:pt x="727910" y="362357"/>
                  <a:pt x="736216" y="337507"/>
                  <a:pt x="735795" y="312194"/>
                </a:cubicBezTo>
                <a:cubicBezTo>
                  <a:pt x="735775" y="311337"/>
                  <a:pt x="735717" y="309829"/>
                  <a:pt x="735625" y="309641"/>
                </a:cubicBezTo>
                <a:cubicBezTo>
                  <a:pt x="735436" y="309564"/>
                  <a:pt x="734665" y="310112"/>
                  <a:pt x="734621" y="310240"/>
                </a:cubicBezTo>
                <a:close/>
                <a:moveTo>
                  <a:pt x="691954" y="321158"/>
                </a:moveTo>
                <a:cubicBezTo>
                  <a:pt x="691896" y="321397"/>
                  <a:pt x="691692" y="321500"/>
                  <a:pt x="691619" y="321526"/>
                </a:cubicBezTo>
                <a:cubicBezTo>
                  <a:pt x="691212" y="321646"/>
                  <a:pt x="691013" y="321148"/>
                  <a:pt x="691023" y="321037"/>
                </a:cubicBezTo>
                <a:cubicBezTo>
                  <a:pt x="691663" y="315913"/>
                  <a:pt x="691707" y="309589"/>
                  <a:pt x="691358" y="304773"/>
                </a:cubicBezTo>
                <a:cubicBezTo>
                  <a:pt x="689976" y="285827"/>
                  <a:pt x="678532" y="270138"/>
                  <a:pt x="668499" y="254370"/>
                </a:cubicBezTo>
                <a:cubicBezTo>
                  <a:pt x="663267" y="246144"/>
                  <a:pt x="654199" y="231766"/>
                  <a:pt x="650329" y="222083"/>
                </a:cubicBezTo>
                <a:cubicBezTo>
                  <a:pt x="650296" y="221997"/>
                  <a:pt x="649534" y="221517"/>
                  <a:pt x="649301" y="221620"/>
                </a:cubicBezTo>
                <a:cubicBezTo>
                  <a:pt x="649200" y="223317"/>
                  <a:pt x="649549" y="228895"/>
                  <a:pt x="649927" y="232502"/>
                </a:cubicBezTo>
                <a:cubicBezTo>
                  <a:pt x="652739" y="259624"/>
                  <a:pt x="661385" y="286179"/>
                  <a:pt x="670332" y="311920"/>
                </a:cubicBezTo>
                <a:cubicBezTo>
                  <a:pt x="676321" y="329152"/>
                  <a:pt x="679312" y="343917"/>
                  <a:pt x="677470" y="362134"/>
                </a:cubicBezTo>
                <a:cubicBezTo>
                  <a:pt x="677271" y="363651"/>
                  <a:pt x="677223" y="363813"/>
                  <a:pt x="677853" y="364277"/>
                </a:cubicBezTo>
                <a:cubicBezTo>
                  <a:pt x="677882" y="364294"/>
                  <a:pt x="677916" y="364233"/>
                  <a:pt x="677930" y="364260"/>
                </a:cubicBezTo>
                <a:cubicBezTo>
                  <a:pt x="684050" y="355442"/>
                  <a:pt x="695959" y="343068"/>
                  <a:pt x="703296" y="334140"/>
                </a:cubicBezTo>
                <a:cubicBezTo>
                  <a:pt x="711248" y="324473"/>
                  <a:pt x="751292" y="278869"/>
                  <a:pt x="731566" y="215331"/>
                </a:cubicBezTo>
                <a:cubicBezTo>
                  <a:pt x="730373" y="211500"/>
                  <a:pt x="728948" y="208184"/>
                  <a:pt x="728463" y="207464"/>
                </a:cubicBezTo>
                <a:cubicBezTo>
                  <a:pt x="728152" y="207472"/>
                  <a:pt x="727619" y="208261"/>
                  <a:pt x="727561" y="208467"/>
                </a:cubicBezTo>
                <a:cubicBezTo>
                  <a:pt x="727682" y="254174"/>
                  <a:pt x="705551" y="273797"/>
                  <a:pt x="696313" y="305065"/>
                </a:cubicBezTo>
                <a:cubicBezTo>
                  <a:pt x="694553" y="311020"/>
                  <a:pt x="693166" y="316547"/>
                  <a:pt x="691954" y="321158"/>
                </a:cubicBezTo>
                <a:close/>
                <a:moveTo>
                  <a:pt x="657467" y="179092"/>
                </a:moveTo>
                <a:cubicBezTo>
                  <a:pt x="650208" y="172828"/>
                  <a:pt x="639409" y="161680"/>
                  <a:pt x="633091" y="151962"/>
                </a:cubicBezTo>
                <a:cubicBezTo>
                  <a:pt x="633047" y="151885"/>
                  <a:pt x="632994" y="151834"/>
                  <a:pt x="632946" y="151782"/>
                </a:cubicBezTo>
                <a:cubicBezTo>
                  <a:pt x="632858" y="151697"/>
                  <a:pt x="632766" y="151620"/>
                  <a:pt x="632669" y="151568"/>
                </a:cubicBezTo>
                <a:cubicBezTo>
                  <a:pt x="632276" y="151320"/>
                  <a:pt x="631767" y="151294"/>
                  <a:pt x="631631" y="151363"/>
                </a:cubicBezTo>
                <a:cubicBezTo>
                  <a:pt x="631340" y="151311"/>
                  <a:pt x="631098" y="151328"/>
                  <a:pt x="631117" y="151397"/>
                </a:cubicBezTo>
                <a:cubicBezTo>
                  <a:pt x="631510" y="153299"/>
                  <a:pt x="637809" y="173462"/>
                  <a:pt x="641873" y="182854"/>
                </a:cubicBezTo>
                <a:cubicBezTo>
                  <a:pt x="647750" y="196410"/>
                  <a:pt x="657181" y="207772"/>
                  <a:pt x="666026" y="219443"/>
                </a:cubicBezTo>
                <a:cubicBezTo>
                  <a:pt x="666661" y="220292"/>
                  <a:pt x="667306" y="221131"/>
                  <a:pt x="667941" y="221989"/>
                </a:cubicBezTo>
                <a:cubicBezTo>
                  <a:pt x="676815" y="233908"/>
                  <a:pt x="691013" y="259306"/>
                  <a:pt x="694437" y="272340"/>
                </a:cubicBezTo>
                <a:cubicBezTo>
                  <a:pt x="694529" y="272708"/>
                  <a:pt x="695319" y="273051"/>
                  <a:pt x="695353" y="272897"/>
                </a:cubicBezTo>
                <a:cubicBezTo>
                  <a:pt x="696595" y="268244"/>
                  <a:pt x="702336" y="250172"/>
                  <a:pt x="706589" y="237969"/>
                </a:cubicBezTo>
                <a:cubicBezTo>
                  <a:pt x="707481" y="235433"/>
                  <a:pt x="715011" y="210934"/>
                  <a:pt x="716529" y="200335"/>
                </a:cubicBezTo>
                <a:cubicBezTo>
                  <a:pt x="720825" y="170266"/>
                  <a:pt x="710904" y="131251"/>
                  <a:pt x="693336" y="109931"/>
                </a:cubicBezTo>
                <a:cubicBezTo>
                  <a:pt x="693045" y="110034"/>
                  <a:pt x="692798" y="110814"/>
                  <a:pt x="692846" y="110986"/>
                </a:cubicBezTo>
                <a:cubicBezTo>
                  <a:pt x="693176" y="111988"/>
                  <a:pt x="693404" y="112759"/>
                  <a:pt x="693695" y="113762"/>
                </a:cubicBezTo>
                <a:cubicBezTo>
                  <a:pt x="694083" y="115073"/>
                  <a:pt x="694451" y="116393"/>
                  <a:pt x="694762" y="117738"/>
                </a:cubicBezTo>
                <a:cubicBezTo>
                  <a:pt x="699339" y="137327"/>
                  <a:pt x="697807" y="151149"/>
                  <a:pt x="695557" y="167807"/>
                </a:cubicBezTo>
                <a:cubicBezTo>
                  <a:pt x="693768" y="181088"/>
                  <a:pt x="691193" y="194233"/>
                  <a:pt x="691876" y="207627"/>
                </a:cubicBezTo>
                <a:cubicBezTo>
                  <a:pt x="691993" y="209863"/>
                  <a:pt x="693365" y="226350"/>
                  <a:pt x="693157" y="226975"/>
                </a:cubicBezTo>
                <a:cubicBezTo>
                  <a:pt x="692924" y="227712"/>
                  <a:pt x="692255" y="227146"/>
                  <a:pt x="692177" y="226761"/>
                </a:cubicBezTo>
                <a:cubicBezTo>
                  <a:pt x="692153" y="226641"/>
                  <a:pt x="690019" y="220635"/>
                  <a:pt x="687871" y="215605"/>
                </a:cubicBezTo>
                <a:cubicBezTo>
                  <a:pt x="686984" y="213419"/>
                  <a:pt x="686082" y="211354"/>
                  <a:pt x="685325" y="209863"/>
                </a:cubicBezTo>
                <a:cubicBezTo>
                  <a:pt x="678275" y="195879"/>
                  <a:pt x="669158" y="188621"/>
                  <a:pt x="657467" y="179092"/>
                </a:cubicBezTo>
                <a:close/>
                <a:moveTo>
                  <a:pt x="638090" y="57360"/>
                </a:moveTo>
                <a:cubicBezTo>
                  <a:pt x="643725" y="62853"/>
                  <a:pt x="648109" y="68989"/>
                  <a:pt x="651173" y="76187"/>
                </a:cubicBezTo>
                <a:cubicBezTo>
                  <a:pt x="656017" y="87540"/>
                  <a:pt x="657443" y="104611"/>
                  <a:pt x="660571" y="117524"/>
                </a:cubicBezTo>
                <a:cubicBezTo>
                  <a:pt x="662486" y="125364"/>
                  <a:pt x="663660" y="130917"/>
                  <a:pt x="666414" y="139820"/>
                </a:cubicBezTo>
                <a:cubicBezTo>
                  <a:pt x="666661" y="140600"/>
                  <a:pt x="665847" y="140960"/>
                  <a:pt x="665434" y="140214"/>
                </a:cubicBezTo>
                <a:cubicBezTo>
                  <a:pt x="665366" y="140111"/>
                  <a:pt x="665299" y="140017"/>
                  <a:pt x="665221" y="139923"/>
                </a:cubicBezTo>
                <a:cubicBezTo>
                  <a:pt x="656163" y="127661"/>
                  <a:pt x="644928" y="120009"/>
                  <a:pt x="628911" y="109914"/>
                </a:cubicBezTo>
                <a:cubicBezTo>
                  <a:pt x="619402" y="103676"/>
                  <a:pt x="612153" y="98030"/>
                  <a:pt x="605267" y="88698"/>
                </a:cubicBezTo>
                <a:cubicBezTo>
                  <a:pt x="604074" y="87095"/>
                  <a:pt x="602847" y="85527"/>
                  <a:pt x="601635" y="83950"/>
                </a:cubicBezTo>
                <a:cubicBezTo>
                  <a:pt x="601533" y="83822"/>
                  <a:pt x="600806" y="83565"/>
                  <a:pt x="600583" y="83650"/>
                </a:cubicBezTo>
                <a:cubicBezTo>
                  <a:pt x="600549" y="84010"/>
                  <a:pt x="600709" y="84722"/>
                  <a:pt x="600854" y="85630"/>
                </a:cubicBezTo>
                <a:cubicBezTo>
                  <a:pt x="602905" y="95939"/>
                  <a:pt x="609820" y="115013"/>
                  <a:pt x="621657" y="126315"/>
                </a:cubicBezTo>
                <a:cubicBezTo>
                  <a:pt x="630172" y="134439"/>
                  <a:pt x="639744" y="141654"/>
                  <a:pt x="648836" y="149169"/>
                </a:cubicBezTo>
                <a:cubicBezTo>
                  <a:pt x="665051" y="162725"/>
                  <a:pt x="676878" y="177361"/>
                  <a:pt x="680685" y="182203"/>
                </a:cubicBezTo>
                <a:lnTo>
                  <a:pt x="680859" y="182391"/>
                </a:lnTo>
                <a:cubicBezTo>
                  <a:pt x="680859" y="182391"/>
                  <a:pt x="681587" y="182853"/>
                  <a:pt x="681567" y="182597"/>
                </a:cubicBezTo>
                <a:cubicBezTo>
                  <a:pt x="681562" y="182536"/>
                  <a:pt x="681562" y="182459"/>
                  <a:pt x="681553" y="182399"/>
                </a:cubicBezTo>
                <a:lnTo>
                  <a:pt x="681567" y="182382"/>
                </a:lnTo>
                <a:cubicBezTo>
                  <a:pt x="681344" y="180009"/>
                  <a:pt x="681262" y="176238"/>
                  <a:pt x="681262" y="171783"/>
                </a:cubicBezTo>
                <a:cubicBezTo>
                  <a:pt x="681267" y="161860"/>
                  <a:pt x="681713" y="148587"/>
                  <a:pt x="682154" y="139452"/>
                </a:cubicBezTo>
                <a:cubicBezTo>
                  <a:pt x="682324" y="135759"/>
                  <a:pt x="682450" y="132048"/>
                  <a:pt x="682435" y="128347"/>
                </a:cubicBezTo>
                <a:cubicBezTo>
                  <a:pt x="682411" y="117318"/>
                  <a:pt x="681175" y="106419"/>
                  <a:pt x="676534" y="95964"/>
                </a:cubicBezTo>
                <a:cubicBezTo>
                  <a:pt x="668994" y="79015"/>
                  <a:pt x="657783" y="65536"/>
                  <a:pt x="641014" y="57198"/>
                </a:cubicBezTo>
                <a:cubicBezTo>
                  <a:pt x="640030" y="56710"/>
                  <a:pt x="638726" y="56213"/>
                  <a:pt x="637887" y="56006"/>
                </a:cubicBezTo>
                <a:cubicBezTo>
                  <a:pt x="637853" y="55998"/>
                  <a:pt x="637732" y="56530"/>
                  <a:pt x="637969" y="57206"/>
                </a:cubicBezTo>
                <a:cubicBezTo>
                  <a:pt x="637989" y="57275"/>
                  <a:pt x="638037" y="57318"/>
                  <a:pt x="638090" y="57360"/>
                </a:cubicBezTo>
                <a:close/>
                <a:moveTo>
                  <a:pt x="568632" y="25321"/>
                </a:moveTo>
                <a:cubicBezTo>
                  <a:pt x="578340" y="33942"/>
                  <a:pt x="586128" y="44147"/>
                  <a:pt x="593421" y="54833"/>
                </a:cubicBezTo>
                <a:cubicBezTo>
                  <a:pt x="600408" y="65081"/>
                  <a:pt x="607323" y="75476"/>
                  <a:pt x="616827" y="83702"/>
                </a:cubicBezTo>
                <a:cubicBezTo>
                  <a:pt x="623107" y="90034"/>
                  <a:pt x="641383" y="104225"/>
                  <a:pt x="645956" y="107764"/>
                </a:cubicBezTo>
                <a:cubicBezTo>
                  <a:pt x="646023" y="107824"/>
                  <a:pt x="646091" y="107892"/>
                  <a:pt x="646154" y="107918"/>
                </a:cubicBezTo>
                <a:cubicBezTo>
                  <a:pt x="646300" y="107977"/>
                  <a:pt x="646538" y="107892"/>
                  <a:pt x="646538" y="107892"/>
                </a:cubicBezTo>
                <a:cubicBezTo>
                  <a:pt x="646538" y="107892"/>
                  <a:pt x="646513" y="107764"/>
                  <a:pt x="646504" y="107686"/>
                </a:cubicBezTo>
                <a:cubicBezTo>
                  <a:pt x="645543" y="102442"/>
                  <a:pt x="637285" y="63976"/>
                  <a:pt x="613181" y="44936"/>
                </a:cubicBezTo>
                <a:cubicBezTo>
                  <a:pt x="600229" y="33745"/>
                  <a:pt x="583024" y="26889"/>
                  <a:pt x="566314" y="22288"/>
                </a:cubicBezTo>
                <a:cubicBezTo>
                  <a:pt x="566145" y="22605"/>
                  <a:pt x="566334" y="23436"/>
                  <a:pt x="566436" y="23419"/>
                </a:cubicBezTo>
                <a:cubicBezTo>
                  <a:pt x="567240" y="24121"/>
                  <a:pt x="567827" y="24610"/>
                  <a:pt x="568632" y="25321"/>
                </a:cubicBezTo>
                <a:close/>
                <a:moveTo>
                  <a:pt x="190133" y="550860"/>
                </a:moveTo>
                <a:cubicBezTo>
                  <a:pt x="206112" y="549736"/>
                  <a:pt x="221569" y="546272"/>
                  <a:pt x="236991" y="542145"/>
                </a:cubicBezTo>
                <a:cubicBezTo>
                  <a:pt x="247017" y="539471"/>
                  <a:pt x="266565" y="535227"/>
                  <a:pt x="273332" y="533687"/>
                </a:cubicBezTo>
                <a:lnTo>
                  <a:pt x="273727" y="533590"/>
                </a:lnTo>
                <a:cubicBezTo>
                  <a:pt x="273787" y="533585"/>
                  <a:pt x="273813" y="533541"/>
                  <a:pt x="273796" y="533478"/>
                </a:cubicBezTo>
                <a:cubicBezTo>
                  <a:pt x="273744" y="533333"/>
                  <a:pt x="273615" y="533028"/>
                  <a:pt x="273358" y="532694"/>
                </a:cubicBezTo>
                <a:cubicBezTo>
                  <a:pt x="273264" y="532582"/>
                  <a:pt x="272869" y="532432"/>
                  <a:pt x="272663" y="532384"/>
                </a:cubicBezTo>
                <a:cubicBezTo>
                  <a:pt x="263949" y="530131"/>
                  <a:pt x="239864" y="523102"/>
                  <a:pt x="223112" y="507120"/>
                </a:cubicBezTo>
                <a:cubicBezTo>
                  <a:pt x="212391" y="497174"/>
                  <a:pt x="202304" y="486546"/>
                  <a:pt x="191591" y="476599"/>
                </a:cubicBezTo>
                <a:cubicBezTo>
                  <a:pt x="182953" y="468587"/>
                  <a:pt x="163929" y="452408"/>
                  <a:pt x="162617" y="451972"/>
                </a:cubicBezTo>
                <a:cubicBezTo>
                  <a:pt x="162436" y="452126"/>
                  <a:pt x="162368" y="452880"/>
                  <a:pt x="162428" y="452957"/>
                </a:cubicBezTo>
                <a:cubicBezTo>
                  <a:pt x="165215" y="456676"/>
                  <a:pt x="175243" y="479427"/>
                  <a:pt x="181367" y="491071"/>
                </a:cubicBezTo>
                <a:cubicBezTo>
                  <a:pt x="190210" y="507885"/>
                  <a:pt x="201952" y="521275"/>
                  <a:pt x="219235" y="527602"/>
                </a:cubicBezTo>
                <a:cubicBezTo>
                  <a:pt x="219330" y="527636"/>
                  <a:pt x="219459" y="527728"/>
                  <a:pt x="219527" y="527801"/>
                </a:cubicBezTo>
                <a:cubicBezTo>
                  <a:pt x="219922" y="528217"/>
                  <a:pt x="219364" y="528731"/>
                  <a:pt x="218146" y="528537"/>
                </a:cubicBezTo>
                <a:lnTo>
                  <a:pt x="217837" y="528484"/>
                </a:lnTo>
                <a:cubicBezTo>
                  <a:pt x="198452" y="525340"/>
                  <a:pt x="179471" y="524492"/>
                  <a:pt x="159803" y="523465"/>
                </a:cubicBezTo>
                <a:cubicBezTo>
                  <a:pt x="144922" y="522685"/>
                  <a:pt x="129569" y="521697"/>
                  <a:pt x="115321" y="516814"/>
                </a:cubicBezTo>
                <a:cubicBezTo>
                  <a:pt x="105844" y="513563"/>
                  <a:pt x="98484" y="510661"/>
                  <a:pt x="87059" y="501893"/>
                </a:cubicBezTo>
                <a:cubicBezTo>
                  <a:pt x="86948" y="501825"/>
                  <a:pt x="86304" y="501636"/>
                  <a:pt x="85747" y="501927"/>
                </a:cubicBezTo>
                <a:cubicBezTo>
                  <a:pt x="85712" y="501946"/>
                  <a:pt x="85747" y="502033"/>
                  <a:pt x="85782" y="502082"/>
                </a:cubicBezTo>
                <a:cubicBezTo>
                  <a:pt x="98656" y="521363"/>
                  <a:pt x="121206" y="537456"/>
                  <a:pt x="139501" y="544267"/>
                </a:cubicBezTo>
                <a:cubicBezTo>
                  <a:pt x="155591" y="550259"/>
                  <a:pt x="172824" y="552076"/>
                  <a:pt x="190133" y="550860"/>
                </a:cubicBezTo>
                <a:close/>
                <a:moveTo>
                  <a:pt x="175105" y="511218"/>
                </a:moveTo>
                <a:cubicBezTo>
                  <a:pt x="176194" y="511451"/>
                  <a:pt x="177301" y="511611"/>
                  <a:pt x="178991" y="511901"/>
                </a:cubicBezTo>
                <a:cubicBezTo>
                  <a:pt x="179025" y="511911"/>
                  <a:pt x="179085" y="511824"/>
                  <a:pt x="179085" y="511775"/>
                </a:cubicBezTo>
                <a:cubicBezTo>
                  <a:pt x="179033" y="511354"/>
                  <a:pt x="178887" y="511078"/>
                  <a:pt x="178887" y="511078"/>
                </a:cubicBezTo>
                <a:cubicBezTo>
                  <a:pt x="178887" y="511078"/>
                  <a:pt x="177996" y="510148"/>
                  <a:pt x="177816" y="509968"/>
                </a:cubicBezTo>
                <a:cubicBezTo>
                  <a:pt x="166004" y="498279"/>
                  <a:pt x="158731" y="483882"/>
                  <a:pt x="153148" y="468535"/>
                </a:cubicBezTo>
                <a:cubicBezTo>
                  <a:pt x="149039" y="457224"/>
                  <a:pt x="145239" y="445802"/>
                  <a:pt x="141276" y="434439"/>
                </a:cubicBezTo>
                <a:cubicBezTo>
                  <a:pt x="135667" y="418390"/>
                  <a:pt x="123642" y="392726"/>
                  <a:pt x="109197" y="376213"/>
                </a:cubicBezTo>
                <a:cubicBezTo>
                  <a:pt x="109171" y="376179"/>
                  <a:pt x="109043" y="376093"/>
                  <a:pt x="109017" y="376127"/>
                </a:cubicBezTo>
                <a:cubicBezTo>
                  <a:pt x="108855" y="376351"/>
                  <a:pt x="108580" y="376838"/>
                  <a:pt x="108717" y="377284"/>
                </a:cubicBezTo>
                <a:cubicBezTo>
                  <a:pt x="113546" y="391629"/>
                  <a:pt x="113837" y="407696"/>
                  <a:pt x="115896" y="422571"/>
                </a:cubicBezTo>
                <a:cubicBezTo>
                  <a:pt x="121806" y="465194"/>
                  <a:pt x="141465" y="485306"/>
                  <a:pt x="142117" y="486061"/>
                </a:cubicBezTo>
                <a:cubicBezTo>
                  <a:pt x="142632" y="486657"/>
                  <a:pt x="142159" y="487244"/>
                  <a:pt x="141697" y="486900"/>
                </a:cubicBezTo>
                <a:cubicBezTo>
                  <a:pt x="140830" y="486255"/>
                  <a:pt x="140102" y="485722"/>
                  <a:pt x="139235" y="485005"/>
                </a:cubicBezTo>
                <a:cubicBezTo>
                  <a:pt x="125872" y="473951"/>
                  <a:pt x="112336" y="467293"/>
                  <a:pt x="96623" y="460001"/>
                </a:cubicBezTo>
                <a:cubicBezTo>
                  <a:pt x="84032" y="454165"/>
                  <a:pt x="73387" y="449084"/>
                  <a:pt x="61928" y="441106"/>
                </a:cubicBezTo>
                <a:cubicBezTo>
                  <a:pt x="38315" y="424953"/>
                  <a:pt x="28682" y="412348"/>
                  <a:pt x="28142" y="411663"/>
                </a:cubicBezTo>
                <a:cubicBezTo>
                  <a:pt x="27790" y="411397"/>
                  <a:pt x="27258" y="411372"/>
                  <a:pt x="26924" y="411500"/>
                </a:cubicBezTo>
                <a:cubicBezTo>
                  <a:pt x="28519" y="417318"/>
                  <a:pt x="30921" y="422520"/>
                  <a:pt x="33486" y="427832"/>
                </a:cubicBezTo>
                <a:cubicBezTo>
                  <a:pt x="43358" y="448269"/>
                  <a:pt x="58488" y="464234"/>
                  <a:pt x="76363" y="477953"/>
                </a:cubicBezTo>
                <a:cubicBezTo>
                  <a:pt x="94187" y="491618"/>
                  <a:pt x="113512" y="499471"/>
                  <a:pt x="135633" y="503152"/>
                </a:cubicBezTo>
                <a:cubicBezTo>
                  <a:pt x="148867" y="505357"/>
                  <a:pt x="161948" y="508510"/>
                  <a:pt x="175105" y="511218"/>
                </a:cubicBezTo>
                <a:close/>
                <a:moveTo>
                  <a:pt x="66002" y="423677"/>
                </a:moveTo>
                <a:cubicBezTo>
                  <a:pt x="79263" y="432520"/>
                  <a:pt x="99377" y="444371"/>
                  <a:pt x="106435" y="448870"/>
                </a:cubicBezTo>
                <a:cubicBezTo>
                  <a:pt x="106470" y="448895"/>
                  <a:pt x="106547" y="448912"/>
                  <a:pt x="106547" y="448912"/>
                </a:cubicBezTo>
                <a:cubicBezTo>
                  <a:pt x="106547" y="448912"/>
                  <a:pt x="107036" y="448056"/>
                  <a:pt x="106856" y="447593"/>
                </a:cubicBezTo>
                <a:cubicBezTo>
                  <a:pt x="106821" y="447498"/>
                  <a:pt x="106796" y="447396"/>
                  <a:pt x="106752" y="447310"/>
                </a:cubicBezTo>
                <a:cubicBezTo>
                  <a:pt x="97952" y="429915"/>
                  <a:pt x="96640" y="410943"/>
                  <a:pt x="95096" y="391766"/>
                </a:cubicBezTo>
                <a:cubicBezTo>
                  <a:pt x="93767" y="375168"/>
                  <a:pt x="96812" y="354431"/>
                  <a:pt x="95954" y="338304"/>
                </a:cubicBezTo>
                <a:cubicBezTo>
                  <a:pt x="95242" y="324936"/>
                  <a:pt x="90996" y="310541"/>
                  <a:pt x="87608" y="299049"/>
                </a:cubicBezTo>
                <a:cubicBezTo>
                  <a:pt x="87137" y="297516"/>
                  <a:pt x="86948" y="297233"/>
                  <a:pt x="86939" y="297173"/>
                </a:cubicBezTo>
                <a:cubicBezTo>
                  <a:pt x="86648" y="297198"/>
                  <a:pt x="86210" y="297798"/>
                  <a:pt x="86107" y="298055"/>
                </a:cubicBezTo>
                <a:cubicBezTo>
                  <a:pt x="86073" y="298149"/>
                  <a:pt x="86099" y="298167"/>
                  <a:pt x="86081" y="298261"/>
                </a:cubicBezTo>
                <a:cubicBezTo>
                  <a:pt x="84332" y="318038"/>
                  <a:pt x="77238" y="335673"/>
                  <a:pt x="74674" y="351834"/>
                </a:cubicBezTo>
                <a:cubicBezTo>
                  <a:pt x="71663" y="370780"/>
                  <a:pt x="73807" y="395228"/>
                  <a:pt x="78834" y="409050"/>
                </a:cubicBezTo>
                <a:cubicBezTo>
                  <a:pt x="79125" y="409855"/>
                  <a:pt x="78336" y="410052"/>
                  <a:pt x="78053" y="409606"/>
                </a:cubicBezTo>
                <a:cubicBezTo>
                  <a:pt x="67614" y="393728"/>
                  <a:pt x="45014" y="370831"/>
                  <a:pt x="33271" y="358724"/>
                </a:cubicBezTo>
                <a:cubicBezTo>
                  <a:pt x="18295" y="342974"/>
                  <a:pt x="8028" y="328329"/>
                  <a:pt x="2350" y="310240"/>
                </a:cubicBezTo>
                <a:cubicBezTo>
                  <a:pt x="2307" y="310112"/>
                  <a:pt x="1535" y="309564"/>
                  <a:pt x="1355" y="309641"/>
                </a:cubicBezTo>
                <a:cubicBezTo>
                  <a:pt x="1252" y="309829"/>
                  <a:pt x="1192" y="311337"/>
                  <a:pt x="1174" y="312194"/>
                </a:cubicBezTo>
                <a:cubicBezTo>
                  <a:pt x="754" y="337507"/>
                  <a:pt x="9058" y="362357"/>
                  <a:pt x="23356" y="382991"/>
                </a:cubicBezTo>
                <a:cubicBezTo>
                  <a:pt x="34806" y="399503"/>
                  <a:pt x="49448" y="412631"/>
                  <a:pt x="66002" y="423677"/>
                </a:cubicBezTo>
                <a:close/>
                <a:moveTo>
                  <a:pt x="59037" y="364260"/>
                </a:moveTo>
                <a:cubicBezTo>
                  <a:pt x="59055" y="364233"/>
                  <a:pt x="59088" y="364294"/>
                  <a:pt x="59115" y="364285"/>
                </a:cubicBezTo>
                <a:cubicBezTo>
                  <a:pt x="59749" y="363813"/>
                  <a:pt x="59698" y="363651"/>
                  <a:pt x="59501" y="362134"/>
                </a:cubicBezTo>
                <a:cubicBezTo>
                  <a:pt x="57657" y="343925"/>
                  <a:pt x="60650" y="329152"/>
                  <a:pt x="66637" y="311920"/>
                </a:cubicBezTo>
                <a:cubicBezTo>
                  <a:pt x="75583" y="286178"/>
                  <a:pt x="84229" y="259623"/>
                  <a:pt x="87042" y="232511"/>
                </a:cubicBezTo>
                <a:cubicBezTo>
                  <a:pt x="87420" y="228895"/>
                  <a:pt x="87771" y="223317"/>
                  <a:pt x="87668" y="221620"/>
                </a:cubicBezTo>
                <a:cubicBezTo>
                  <a:pt x="87437" y="221517"/>
                  <a:pt x="86673" y="221997"/>
                  <a:pt x="86639" y="222091"/>
                </a:cubicBezTo>
                <a:cubicBezTo>
                  <a:pt x="82770" y="231766"/>
                  <a:pt x="73705" y="246153"/>
                  <a:pt x="68472" y="254370"/>
                </a:cubicBezTo>
                <a:cubicBezTo>
                  <a:pt x="58437" y="270138"/>
                  <a:pt x="46986" y="285827"/>
                  <a:pt x="45614" y="304773"/>
                </a:cubicBezTo>
                <a:cubicBezTo>
                  <a:pt x="45262" y="309589"/>
                  <a:pt x="45305" y="315913"/>
                  <a:pt x="45948" y="321037"/>
                </a:cubicBezTo>
                <a:cubicBezTo>
                  <a:pt x="45957" y="321148"/>
                  <a:pt x="45760" y="321646"/>
                  <a:pt x="45348" y="321526"/>
                </a:cubicBezTo>
                <a:cubicBezTo>
                  <a:pt x="45279" y="321500"/>
                  <a:pt x="45073" y="321397"/>
                  <a:pt x="45014" y="321158"/>
                </a:cubicBezTo>
                <a:cubicBezTo>
                  <a:pt x="43804" y="316547"/>
                  <a:pt x="42415" y="311020"/>
                  <a:pt x="40648" y="305065"/>
                </a:cubicBezTo>
                <a:cubicBezTo>
                  <a:pt x="31419" y="273797"/>
                  <a:pt x="9289" y="254174"/>
                  <a:pt x="9409" y="208467"/>
                </a:cubicBezTo>
                <a:cubicBezTo>
                  <a:pt x="9349" y="208261"/>
                  <a:pt x="8817" y="207472"/>
                  <a:pt x="8509" y="207464"/>
                </a:cubicBezTo>
                <a:cubicBezTo>
                  <a:pt x="8019" y="208184"/>
                  <a:pt x="6596" y="211500"/>
                  <a:pt x="5403" y="215331"/>
                </a:cubicBezTo>
                <a:cubicBezTo>
                  <a:pt x="-14325" y="278869"/>
                  <a:pt x="25723" y="324473"/>
                  <a:pt x="33666" y="334140"/>
                </a:cubicBezTo>
                <a:cubicBezTo>
                  <a:pt x="41008" y="343068"/>
                  <a:pt x="52921" y="355442"/>
                  <a:pt x="59037" y="364260"/>
                </a:cubicBezTo>
                <a:close/>
                <a:moveTo>
                  <a:pt x="30372" y="237961"/>
                </a:moveTo>
                <a:cubicBezTo>
                  <a:pt x="34643" y="250172"/>
                  <a:pt x="40373" y="268243"/>
                  <a:pt x="41617" y="272905"/>
                </a:cubicBezTo>
                <a:cubicBezTo>
                  <a:pt x="41651" y="273051"/>
                  <a:pt x="42440" y="272708"/>
                  <a:pt x="42535" y="272340"/>
                </a:cubicBezTo>
                <a:cubicBezTo>
                  <a:pt x="45957" y="259306"/>
                  <a:pt x="60152" y="233908"/>
                  <a:pt x="69030" y="221988"/>
                </a:cubicBezTo>
                <a:cubicBezTo>
                  <a:pt x="69664" y="221131"/>
                  <a:pt x="70308" y="220292"/>
                  <a:pt x="70943" y="219443"/>
                </a:cubicBezTo>
                <a:cubicBezTo>
                  <a:pt x="79786" y="207772"/>
                  <a:pt x="89221" y="196410"/>
                  <a:pt x="95096" y="182853"/>
                </a:cubicBezTo>
                <a:cubicBezTo>
                  <a:pt x="99162" y="173462"/>
                  <a:pt x="105458" y="153299"/>
                  <a:pt x="105861" y="151397"/>
                </a:cubicBezTo>
                <a:cubicBezTo>
                  <a:pt x="105869" y="151328"/>
                  <a:pt x="105629" y="151311"/>
                  <a:pt x="105338" y="151354"/>
                </a:cubicBezTo>
                <a:cubicBezTo>
                  <a:pt x="105200" y="151294"/>
                  <a:pt x="104694" y="151320"/>
                  <a:pt x="104300" y="151568"/>
                </a:cubicBezTo>
                <a:cubicBezTo>
                  <a:pt x="104205" y="151620"/>
                  <a:pt x="104111" y="151697"/>
                  <a:pt x="104025" y="151782"/>
                </a:cubicBezTo>
                <a:cubicBezTo>
                  <a:pt x="103973" y="151825"/>
                  <a:pt x="103922" y="151885"/>
                  <a:pt x="103879" y="151962"/>
                </a:cubicBezTo>
                <a:cubicBezTo>
                  <a:pt x="97558" y="161680"/>
                  <a:pt x="86759" y="172828"/>
                  <a:pt x="79503" y="179092"/>
                </a:cubicBezTo>
                <a:cubicBezTo>
                  <a:pt x="67812" y="188621"/>
                  <a:pt x="58694" y="195879"/>
                  <a:pt x="51644" y="209863"/>
                </a:cubicBezTo>
                <a:cubicBezTo>
                  <a:pt x="50889" y="211354"/>
                  <a:pt x="49988" y="213419"/>
                  <a:pt x="49096" y="215596"/>
                </a:cubicBezTo>
                <a:cubicBezTo>
                  <a:pt x="46952" y="220635"/>
                  <a:pt x="44816" y="226641"/>
                  <a:pt x="44790" y="226761"/>
                </a:cubicBezTo>
                <a:cubicBezTo>
                  <a:pt x="44713" y="227146"/>
                  <a:pt x="44044" y="227712"/>
                  <a:pt x="43804" y="226975"/>
                </a:cubicBezTo>
                <a:cubicBezTo>
                  <a:pt x="43606" y="226350"/>
                  <a:pt x="44979" y="209863"/>
                  <a:pt x="45099" y="207627"/>
                </a:cubicBezTo>
                <a:cubicBezTo>
                  <a:pt x="45768" y="194233"/>
                  <a:pt x="43203" y="181088"/>
                  <a:pt x="41411" y="167807"/>
                </a:cubicBezTo>
                <a:cubicBezTo>
                  <a:pt x="39164" y="151149"/>
                  <a:pt x="37628" y="137327"/>
                  <a:pt x="42200" y="117729"/>
                </a:cubicBezTo>
                <a:cubicBezTo>
                  <a:pt x="42508" y="116401"/>
                  <a:pt x="42886" y="115073"/>
                  <a:pt x="43272" y="113762"/>
                </a:cubicBezTo>
                <a:cubicBezTo>
                  <a:pt x="43564" y="112759"/>
                  <a:pt x="43795" y="111988"/>
                  <a:pt x="44121" y="110986"/>
                </a:cubicBezTo>
                <a:cubicBezTo>
                  <a:pt x="44172" y="110814"/>
                  <a:pt x="43924" y="110034"/>
                  <a:pt x="43632" y="109931"/>
                </a:cubicBezTo>
                <a:cubicBezTo>
                  <a:pt x="26066" y="131251"/>
                  <a:pt x="16142" y="170266"/>
                  <a:pt x="20440" y="200335"/>
                </a:cubicBezTo>
                <a:cubicBezTo>
                  <a:pt x="21958" y="210934"/>
                  <a:pt x="29488" y="235433"/>
                  <a:pt x="30372" y="237961"/>
                </a:cubicBezTo>
                <a:close/>
                <a:moveTo>
                  <a:pt x="55709" y="171783"/>
                </a:moveTo>
                <a:cubicBezTo>
                  <a:pt x="55709" y="176238"/>
                  <a:pt x="55624" y="180009"/>
                  <a:pt x="55401" y="182382"/>
                </a:cubicBezTo>
                <a:lnTo>
                  <a:pt x="55418" y="182399"/>
                </a:lnTo>
                <a:cubicBezTo>
                  <a:pt x="55409" y="182459"/>
                  <a:pt x="55409" y="182537"/>
                  <a:pt x="55401" y="182597"/>
                </a:cubicBezTo>
                <a:cubicBezTo>
                  <a:pt x="55375" y="182853"/>
                  <a:pt x="56113" y="182391"/>
                  <a:pt x="56113" y="182391"/>
                </a:cubicBezTo>
                <a:lnTo>
                  <a:pt x="56284" y="182203"/>
                </a:lnTo>
                <a:cubicBezTo>
                  <a:pt x="60092" y="177361"/>
                  <a:pt x="71912" y="162725"/>
                  <a:pt x="88132" y="149169"/>
                </a:cubicBezTo>
                <a:cubicBezTo>
                  <a:pt x="97224" y="141654"/>
                  <a:pt x="106796" y="134439"/>
                  <a:pt x="115313" y="126315"/>
                </a:cubicBezTo>
                <a:cubicBezTo>
                  <a:pt x="127150" y="115013"/>
                  <a:pt x="134063" y="95939"/>
                  <a:pt x="136113" y="85630"/>
                </a:cubicBezTo>
                <a:cubicBezTo>
                  <a:pt x="136259" y="84722"/>
                  <a:pt x="136422" y="84010"/>
                  <a:pt x="136387" y="83650"/>
                </a:cubicBezTo>
                <a:cubicBezTo>
                  <a:pt x="136165" y="83565"/>
                  <a:pt x="135435" y="83822"/>
                  <a:pt x="135332" y="83950"/>
                </a:cubicBezTo>
                <a:cubicBezTo>
                  <a:pt x="134123" y="85527"/>
                  <a:pt x="132896" y="87095"/>
                  <a:pt x="131713" y="88698"/>
                </a:cubicBezTo>
                <a:cubicBezTo>
                  <a:pt x="124816" y="98030"/>
                  <a:pt x="117568" y="103676"/>
                  <a:pt x="108056" y="109914"/>
                </a:cubicBezTo>
                <a:cubicBezTo>
                  <a:pt x="92042" y="120009"/>
                  <a:pt x="80806" y="127661"/>
                  <a:pt x="71748" y="139923"/>
                </a:cubicBezTo>
                <a:cubicBezTo>
                  <a:pt x="71680" y="140017"/>
                  <a:pt x="71602" y="140111"/>
                  <a:pt x="71534" y="140214"/>
                </a:cubicBezTo>
                <a:cubicBezTo>
                  <a:pt x="71122" y="140960"/>
                  <a:pt x="70308" y="140600"/>
                  <a:pt x="70557" y="139820"/>
                </a:cubicBezTo>
                <a:cubicBezTo>
                  <a:pt x="73310" y="130917"/>
                  <a:pt x="74485" y="125364"/>
                  <a:pt x="76397" y="117524"/>
                </a:cubicBezTo>
                <a:cubicBezTo>
                  <a:pt x="79528" y="104611"/>
                  <a:pt x="80952" y="87540"/>
                  <a:pt x="85799" y="76187"/>
                </a:cubicBezTo>
                <a:cubicBezTo>
                  <a:pt x="88860" y="68989"/>
                  <a:pt x="93243" y="62853"/>
                  <a:pt x="98870" y="57360"/>
                </a:cubicBezTo>
                <a:cubicBezTo>
                  <a:pt x="98930" y="57318"/>
                  <a:pt x="98982" y="57275"/>
                  <a:pt x="99008" y="57207"/>
                </a:cubicBezTo>
                <a:cubicBezTo>
                  <a:pt x="99239" y="56530"/>
                  <a:pt x="99119" y="55998"/>
                  <a:pt x="99085" y="56016"/>
                </a:cubicBezTo>
                <a:cubicBezTo>
                  <a:pt x="98244" y="56213"/>
                  <a:pt x="96932" y="56710"/>
                  <a:pt x="95954" y="57198"/>
                </a:cubicBezTo>
                <a:cubicBezTo>
                  <a:pt x="79185" y="65536"/>
                  <a:pt x="67975" y="79015"/>
                  <a:pt x="60436" y="95964"/>
                </a:cubicBezTo>
                <a:cubicBezTo>
                  <a:pt x="55795" y="106419"/>
                  <a:pt x="54560" y="117318"/>
                  <a:pt x="54534" y="128347"/>
                </a:cubicBezTo>
                <a:cubicBezTo>
                  <a:pt x="54526" y="132048"/>
                  <a:pt x="54646" y="135759"/>
                  <a:pt x="54817" y="139452"/>
                </a:cubicBezTo>
                <a:cubicBezTo>
                  <a:pt x="55255" y="148595"/>
                  <a:pt x="55700" y="161860"/>
                  <a:pt x="55709" y="171783"/>
                </a:cubicBezTo>
                <a:close/>
                <a:moveTo>
                  <a:pt x="90430" y="107892"/>
                </a:moveTo>
                <a:cubicBezTo>
                  <a:pt x="90430" y="107892"/>
                  <a:pt x="90670" y="107977"/>
                  <a:pt x="90816" y="107918"/>
                </a:cubicBezTo>
                <a:cubicBezTo>
                  <a:pt x="90876" y="107892"/>
                  <a:pt x="90944" y="107815"/>
                  <a:pt x="91014" y="107764"/>
                </a:cubicBezTo>
                <a:cubicBezTo>
                  <a:pt x="95585" y="104225"/>
                  <a:pt x="113854" y="90034"/>
                  <a:pt x="120142" y="83702"/>
                </a:cubicBezTo>
                <a:cubicBezTo>
                  <a:pt x="129645" y="75467"/>
                  <a:pt x="136559" y="65081"/>
                  <a:pt x="143550" y="54833"/>
                </a:cubicBezTo>
                <a:cubicBezTo>
                  <a:pt x="150832" y="44147"/>
                  <a:pt x="158628" y="33942"/>
                  <a:pt x="168338" y="25321"/>
                </a:cubicBezTo>
                <a:cubicBezTo>
                  <a:pt x="169135" y="24610"/>
                  <a:pt x="169727" y="24130"/>
                  <a:pt x="170533" y="23410"/>
                </a:cubicBezTo>
                <a:cubicBezTo>
                  <a:pt x="170628" y="23436"/>
                  <a:pt x="170825" y="22605"/>
                  <a:pt x="170654" y="22288"/>
                </a:cubicBezTo>
                <a:cubicBezTo>
                  <a:pt x="153945" y="26889"/>
                  <a:pt x="136739" y="33745"/>
                  <a:pt x="123788" y="44936"/>
                </a:cubicBezTo>
                <a:cubicBezTo>
                  <a:pt x="99685" y="63976"/>
                  <a:pt x="91425" y="102442"/>
                  <a:pt x="90465" y="107686"/>
                </a:cubicBezTo>
                <a:cubicBezTo>
                  <a:pt x="90456" y="107764"/>
                  <a:pt x="90430" y="107892"/>
                  <a:pt x="90430" y="107892"/>
                </a:cubicBezTo>
                <a:close/>
                <a:moveTo>
                  <a:pt x="361962" y="317499"/>
                </a:moveTo>
                <a:cubicBezTo>
                  <a:pt x="363849" y="314662"/>
                  <a:pt x="359140" y="312871"/>
                  <a:pt x="357913" y="317798"/>
                </a:cubicBezTo>
                <a:cubicBezTo>
                  <a:pt x="356764" y="322383"/>
                  <a:pt x="360066" y="320326"/>
                  <a:pt x="361962" y="317499"/>
                </a:cubicBezTo>
                <a:close/>
                <a:moveTo>
                  <a:pt x="413348" y="198801"/>
                </a:moveTo>
                <a:cubicBezTo>
                  <a:pt x="411522" y="197850"/>
                  <a:pt x="404007" y="207001"/>
                  <a:pt x="405209" y="208483"/>
                </a:cubicBezTo>
                <a:cubicBezTo>
                  <a:pt x="405749" y="209075"/>
                  <a:pt x="414009" y="199238"/>
                  <a:pt x="413348" y="198801"/>
                </a:cubicBezTo>
                <a:close/>
                <a:moveTo>
                  <a:pt x="414961" y="197181"/>
                </a:moveTo>
                <a:cubicBezTo>
                  <a:pt x="416093" y="197772"/>
                  <a:pt x="421077" y="195065"/>
                  <a:pt x="420150" y="194336"/>
                </a:cubicBezTo>
                <a:cubicBezTo>
                  <a:pt x="419232" y="193599"/>
                  <a:pt x="413374" y="190892"/>
                  <a:pt x="413254" y="192545"/>
                </a:cubicBezTo>
                <a:cubicBezTo>
                  <a:pt x="413083" y="195236"/>
                  <a:pt x="413820" y="196590"/>
                  <a:pt x="414961" y="197181"/>
                </a:cubicBezTo>
                <a:close/>
                <a:moveTo>
                  <a:pt x="505468" y="276444"/>
                </a:moveTo>
                <a:cubicBezTo>
                  <a:pt x="503111" y="276547"/>
                  <a:pt x="500556" y="279958"/>
                  <a:pt x="501274" y="280001"/>
                </a:cubicBezTo>
                <a:cubicBezTo>
                  <a:pt x="502971" y="280086"/>
                  <a:pt x="504265" y="281303"/>
                  <a:pt x="505633" y="281003"/>
                </a:cubicBezTo>
                <a:cubicBezTo>
                  <a:pt x="508135" y="280446"/>
                  <a:pt x="507830" y="276350"/>
                  <a:pt x="505468" y="276444"/>
                </a:cubicBezTo>
                <a:close/>
                <a:moveTo>
                  <a:pt x="472669" y="191097"/>
                </a:moveTo>
                <a:cubicBezTo>
                  <a:pt x="470636" y="191149"/>
                  <a:pt x="470121" y="193359"/>
                  <a:pt x="472077" y="194362"/>
                </a:cubicBezTo>
                <a:cubicBezTo>
                  <a:pt x="472952" y="194816"/>
                  <a:pt x="475739" y="194405"/>
                  <a:pt x="477018" y="193599"/>
                </a:cubicBezTo>
                <a:cubicBezTo>
                  <a:pt x="478364" y="192751"/>
                  <a:pt x="479934" y="191697"/>
                  <a:pt x="479642" y="189640"/>
                </a:cubicBezTo>
                <a:cubicBezTo>
                  <a:pt x="479470" y="188389"/>
                  <a:pt x="476554" y="184859"/>
                  <a:pt x="478081" y="183505"/>
                </a:cubicBezTo>
                <a:cubicBezTo>
                  <a:pt x="479728" y="182031"/>
                  <a:pt x="481392" y="184319"/>
                  <a:pt x="483004" y="183693"/>
                </a:cubicBezTo>
                <a:cubicBezTo>
                  <a:pt x="484971" y="182931"/>
                  <a:pt x="484789" y="181808"/>
                  <a:pt x="484849" y="180138"/>
                </a:cubicBezTo>
                <a:cubicBezTo>
                  <a:pt x="484927" y="177824"/>
                  <a:pt x="484000" y="174782"/>
                  <a:pt x="481315" y="174782"/>
                </a:cubicBezTo>
                <a:cubicBezTo>
                  <a:pt x="479316" y="174782"/>
                  <a:pt x="475843" y="180129"/>
                  <a:pt x="475688" y="180454"/>
                </a:cubicBezTo>
                <a:cubicBezTo>
                  <a:pt x="475422" y="181037"/>
                  <a:pt x="474865" y="182991"/>
                  <a:pt x="475722" y="184979"/>
                </a:cubicBezTo>
                <a:cubicBezTo>
                  <a:pt x="476915" y="187747"/>
                  <a:pt x="476451" y="190994"/>
                  <a:pt x="472669" y="191097"/>
                </a:cubicBezTo>
                <a:close/>
                <a:moveTo>
                  <a:pt x="517125" y="191466"/>
                </a:moveTo>
                <a:cubicBezTo>
                  <a:pt x="517067" y="192700"/>
                  <a:pt x="520631" y="201286"/>
                  <a:pt x="520995" y="203625"/>
                </a:cubicBezTo>
                <a:cubicBezTo>
                  <a:pt x="521354" y="205964"/>
                  <a:pt x="522091" y="212974"/>
                  <a:pt x="523977" y="212254"/>
                </a:cubicBezTo>
                <a:cubicBezTo>
                  <a:pt x="525170" y="211791"/>
                  <a:pt x="525058" y="207498"/>
                  <a:pt x="524801" y="205836"/>
                </a:cubicBezTo>
                <a:cubicBezTo>
                  <a:pt x="524040" y="200960"/>
                  <a:pt x="523051" y="196745"/>
                  <a:pt x="521252" y="191268"/>
                </a:cubicBezTo>
                <a:cubicBezTo>
                  <a:pt x="520297" y="188355"/>
                  <a:pt x="516165" y="178844"/>
                  <a:pt x="514793" y="179177"/>
                </a:cubicBezTo>
                <a:cubicBezTo>
                  <a:pt x="513576" y="179469"/>
                  <a:pt x="516844" y="186101"/>
                  <a:pt x="517324" y="188261"/>
                </a:cubicBezTo>
                <a:cubicBezTo>
                  <a:pt x="517639" y="189666"/>
                  <a:pt x="517193" y="190223"/>
                  <a:pt x="517125" y="191466"/>
                </a:cubicBezTo>
                <a:close/>
                <a:moveTo>
                  <a:pt x="493631" y="76958"/>
                </a:moveTo>
                <a:cubicBezTo>
                  <a:pt x="495828" y="77789"/>
                  <a:pt x="495818" y="73693"/>
                  <a:pt x="492089" y="70668"/>
                </a:cubicBezTo>
                <a:cubicBezTo>
                  <a:pt x="488380" y="67652"/>
                  <a:pt x="483442" y="69118"/>
                  <a:pt x="484780" y="70609"/>
                </a:cubicBezTo>
                <a:cubicBezTo>
                  <a:pt x="485989" y="71945"/>
                  <a:pt x="491687" y="76213"/>
                  <a:pt x="493631" y="76958"/>
                </a:cubicBezTo>
                <a:close/>
                <a:moveTo>
                  <a:pt x="392480" y="47935"/>
                </a:moveTo>
                <a:cubicBezTo>
                  <a:pt x="388071" y="45090"/>
                  <a:pt x="391759" y="41166"/>
                  <a:pt x="388234" y="38527"/>
                </a:cubicBezTo>
                <a:cubicBezTo>
                  <a:pt x="385764" y="36675"/>
                  <a:pt x="378842" y="38509"/>
                  <a:pt x="377126" y="40703"/>
                </a:cubicBezTo>
                <a:cubicBezTo>
                  <a:pt x="374150" y="44550"/>
                  <a:pt x="380969" y="43273"/>
                  <a:pt x="383440" y="44370"/>
                </a:cubicBezTo>
                <a:cubicBezTo>
                  <a:pt x="386202" y="45587"/>
                  <a:pt x="392129" y="50677"/>
                  <a:pt x="393183" y="49649"/>
                </a:cubicBezTo>
                <a:cubicBezTo>
                  <a:pt x="394230" y="48612"/>
                  <a:pt x="392968" y="48389"/>
                  <a:pt x="392480" y="47935"/>
                </a:cubicBezTo>
                <a:close/>
                <a:moveTo>
                  <a:pt x="419275" y="34465"/>
                </a:moveTo>
                <a:cubicBezTo>
                  <a:pt x="413339" y="31757"/>
                  <a:pt x="390987" y="31876"/>
                  <a:pt x="391570" y="37686"/>
                </a:cubicBezTo>
                <a:cubicBezTo>
                  <a:pt x="392051" y="42648"/>
                  <a:pt x="404480" y="37986"/>
                  <a:pt x="407696" y="37712"/>
                </a:cubicBezTo>
                <a:cubicBezTo>
                  <a:pt x="410921" y="37430"/>
                  <a:pt x="424516" y="37155"/>
                  <a:pt x="419275" y="34465"/>
                </a:cubicBezTo>
                <a:close/>
                <a:moveTo>
                  <a:pt x="353873" y="294294"/>
                </a:moveTo>
                <a:cubicBezTo>
                  <a:pt x="353581" y="293188"/>
                  <a:pt x="351643" y="293368"/>
                  <a:pt x="352124" y="294388"/>
                </a:cubicBezTo>
                <a:cubicBezTo>
                  <a:pt x="352604" y="295407"/>
                  <a:pt x="351540" y="296444"/>
                  <a:pt x="352535" y="297721"/>
                </a:cubicBezTo>
                <a:cubicBezTo>
                  <a:pt x="353839" y="299118"/>
                  <a:pt x="356652" y="298947"/>
                  <a:pt x="358068" y="297790"/>
                </a:cubicBezTo>
                <a:cubicBezTo>
                  <a:pt x="358883" y="296907"/>
                  <a:pt x="358368" y="295236"/>
                  <a:pt x="357750" y="294911"/>
                </a:cubicBezTo>
                <a:cubicBezTo>
                  <a:pt x="356678" y="294379"/>
                  <a:pt x="354165" y="295399"/>
                  <a:pt x="353873" y="294294"/>
                </a:cubicBezTo>
                <a:close/>
                <a:moveTo>
                  <a:pt x="345262" y="249872"/>
                </a:moveTo>
                <a:cubicBezTo>
                  <a:pt x="347106" y="249872"/>
                  <a:pt x="347038" y="248492"/>
                  <a:pt x="348109" y="248544"/>
                </a:cubicBezTo>
                <a:cubicBezTo>
                  <a:pt x="349190" y="248587"/>
                  <a:pt x="348307" y="249941"/>
                  <a:pt x="350176" y="249941"/>
                </a:cubicBezTo>
                <a:cubicBezTo>
                  <a:pt x="352029" y="249941"/>
                  <a:pt x="353977" y="245168"/>
                  <a:pt x="348015" y="245168"/>
                </a:cubicBezTo>
                <a:cubicBezTo>
                  <a:pt x="343160" y="245168"/>
                  <a:pt x="343804" y="249804"/>
                  <a:pt x="345262" y="249871"/>
                </a:cubicBezTo>
                <a:close/>
                <a:moveTo>
                  <a:pt x="352998" y="254807"/>
                </a:moveTo>
                <a:cubicBezTo>
                  <a:pt x="349293" y="253856"/>
                  <a:pt x="350048" y="255965"/>
                  <a:pt x="347775" y="256213"/>
                </a:cubicBezTo>
                <a:cubicBezTo>
                  <a:pt x="344009" y="256625"/>
                  <a:pt x="347355" y="253436"/>
                  <a:pt x="345502" y="251971"/>
                </a:cubicBezTo>
                <a:cubicBezTo>
                  <a:pt x="344687" y="251329"/>
                  <a:pt x="342474" y="254550"/>
                  <a:pt x="342311" y="256564"/>
                </a:cubicBezTo>
                <a:cubicBezTo>
                  <a:pt x="342208" y="257532"/>
                  <a:pt x="342183" y="260814"/>
                  <a:pt x="343778" y="260917"/>
                </a:cubicBezTo>
                <a:cubicBezTo>
                  <a:pt x="345373" y="261020"/>
                  <a:pt x="353762" y="261980"/>
                  <a:pt x="356558" y="262614"/>
                </a:cubicBezTo>
                <a:cubicBezTo>
                  <a:pt x="359758" y="263351"/>
                  <a:pt x="356430" y="255691"/>
                  <a:pt x="352998" y="254807"/>
                </a:cubicBezTo>
                <a:close/>
                <a:moveTo>
                  <a:pt x="311699" y="299290"/>
                </a:moveTo>
                <a:cubicBezTo>
                  <a:pt x="312840" y="299290"/>
                  <a:pt x="313663" y="295245"/>
                  <a:pt x="312960" y="293257"/>
                </a:cubicBezTo>
                <a:cubicBezTo>
                  <a:pt x="312248" y="291269"/>
                  <a:pt x="308577" y="292760"/>
                  <a:pt x="308251" y="293685"/>
                </a:cubicBezTo>
                <a:cubicBezTo>
                  <a:pt x="307934" y="294619"/>
                  <a:pt x="310550" y="299290"/>
                  <a:pt x="311699" y="299290"/>
                </a:cubicBezTo>
                <a:close/>
                <a:moveTo>
                  <a:pt x="257567" y="298887"/>
                </a:moveTo>
                <a:cubicBezTo>
                  <a:pt x="257731" y="297147"/>
                  <a:pt x="257585" y="292057"/>
                  <a:pt x="256366" y="291072"/>
                </a:cubicBezTo>
                <a:cubicBezTo>
                  <a:pt x="255149" y="290095"/>
                  <a:pt x="255312" y="291937"/>
                  <a:pt x="254437" y="291835"/>
                </a:cubicBezTo>
                <a:cubicBezTo>
                  <a:pt x="253760" y="291757"/>
                  <a:pt x="253819" y="289392"/>
                  <a:pt x="252961" y="289401"/>
                </a:cubicBezTo>
                <a:cubicBezTo>
                  <a:pt x="252104" y="289401"/>
                  <a:pt x="253253" y="293445"/>
                  <a:pt x="254171" y="295793"/>
                </a:cubicBezTo>
                <a:cubicBezTo>
                  <a:pt x="255089" y="298149"/>
                  <a:pt x="257353" y="301997"/>
                  <a:pt x="257567" y="298887"/>
                </a:cubicBezTo>
                <a:close/>
                <a:moveTo>
                  <a:pt x="256264" y="286530"/>
                </a:moveTo>
                <a:cubicBezTo>
                  <a:pt x="256547" y="285930"/>
                  <a:pt x="258399" y="277455"/>
                  <a:pt x="258116" y="274216"/>
                </a:cubicBezTo>
                <a:cubicBezTo>
                  <a:pt x="257825" y="270986"/>
                  <a:pt x="256101" y="267935"/>
                  <a:pt x="255664" y="268158"/>
                </a:cubicBezTo>
                <a:cubicBezTo>
                  <a:pt x="255080" y="268458"/>
                  <a:pt x="255929" y="270395"/>
                  <a:pt x="256032" y="273531"/>
                </a:cubicBezTo>
                <a:cubicBezTo>
                  <a:pt x="256187" y="278218"/>
                  <a:pt x="253973" y="282117"/>
                  <a:pt x="253973" y="283660"/>
                </a:cubicBezTo>
                <a:cubicBezTo>
                  <a:pt x="253965" y="285116"/>
                  <a:pt x="255363" y="288415"/>
                  <a:pt x="256264" y="286530"/>
                </a:cubicBezTo>
                <a:close/>
                <a:moveTo>
                  <a:pt x="111728" y="256564"/>
                </a:moveTo>
                <a:cubicBezTo>
                  <a:pt x="111728" y="187978"/>
                  <a:pt x="138429" y="123539"/>
                  <a:pt x="186908" y="75107"/>
                </a:cubicBezTo>
                <a:cubicBezTo>
                  <a:pt x="235378" y="26675"/>
                  <a:pt x="299888" y="0"/>
                  <a:pt x="368541" y="0"/>
                </a:cubicBezTo>
                <a:cubicBezTo>
                  <a:pt x="437193" y="0"/>
                  <a:pt x="501695" y="26675"/>
                  <a:pt x="550172" y="75107"/>
                </a:cubicBezTo>
                <a:cubicBezTo>
                  <a:pt x="598653" y="123539"/>
                  <a:pt x="625352" y="187978"/>
                  <a:pt x="625352" y="256564"/>
                </a:cubicBezTo>
                <a:cubicBezTo>
                  <a:pt x="625352" y="325150"/>
                  <a:pt x="598653" y="389598"/>
                  <a:pt x="550172" y="438021"/>
                </a:cubicBezTo>
                <a:cubicBezTo>
                  <a:pt x="501695" y="486454"/>
                  <a:pt x="437193" y="513127"/>
                  <a:pt x="368541" y="513127"/>
                </a:cubicBezTo>
                <a:cubicBezTo>
                  <a:pt x="299888" y="513127"/>
                  <a:pt x="235378" y="486454"/>
                  <a:pt x="186908" y="438021"/>
                </a:cubicBezTo>
                <a:cubicBezTo>
                  <a:pt x="138429" y="389598"/>
                  <a:pt x="111728" y="325150"/>
                  <a:pt x="111728" y="256564"/>
                </a:cubicBezTo>
                <a:close/>
                <a:moveTo>
                  <a:pt x="190836" y="426350"/>
                </a:moveTo>
                <a:lnTo>
                  <a:pt x="218738" y="398475"/>
                </a:lnTo>
                <a:cubicBezTo>
                  <a:pt x="213248" y="392691"/>
                  <a:pt x="208093" y="386590"/>
                  <a:pt x="203299" y="380215"/>
                </a:cubicBezTo>
                <a:cubicBezTo>
                  <a:pt x="201137" y="379358"/>
                  <a:pt x="198941" y="378159"/>
                  <a:pt x="197432" y="376291"/>
                </a:cubicBezTo>
                <a:cubicBezTo>
                  <a:pt x="195047" y="373317"/>
                  <a:pt x="193795" y="368964"/>
                  <a:pt x="192663" y="368964"/>
                </a:cubicBezTo>
                <a:cubicBezTo>
                  <a:pt x="191522" y="368973"/>
                  <a:pt x="192569" y="371732"/>
                  <a:pt x="190030" y="372100"/>
                </a:cubicBezTo>
                <a:cubicBezTo>
                  <a:pt x="186573" y="372605"/>
                  <a:pt x="181693" y="364020"/>
                  <a:pt x="179788" y="360892"/>
                </a:cubicBezTo>
                <a:cubicBezTo>
                  <a:pt x="177541" y="357207"/>
                  <a:pt x="173853" y="357173"/>
                  <a:pt x="172043" y="353719"/>
                </a:cubicBezTo>
                <a:cubicBezTo>
                  <a:pt x="171520" y="352726"/>
                  <a:pt x="170267" y="349675"/>
                  <a:pt x="169110" y="351483"/>
                </a:cubicBezTo>
                <a:cubicBezTo>
                  <a:pt x="167197" y="354551"/>
                  <a:pt x="160635" y="344799"/>
                  <a:pt x="158963" y="345468"/>
                </a:cubicBezTo>
                <a:cubicBezTo>
                  <a:pt x="157239" y="346136"/>
                  <a:pt x="158757" y="348167"/>
                  <a:pt x="157788" y="349023"/>
                </a:cubicBezTo>
                <a:cubicBezTo>
                  <a:pt x="155910" y="350695"/>
                  <a:pt x="150385" y="341552"/>
                  <a:pt x="148318" y="342486"/>
                </a:cubicBezTo>
                <a:cubicBezTo>
                  <a:pt x="146380" y="343368"/>
                  <a:pt x="145934" y="344542"/>
                  <a:pt x="145822" y="346968"/>
                </a:cubicBezTo>
                <a:cubicBezTo>
                  <a:pt x="145719" y="349487"/>
                  <a:pt x="148842" y="355965"/>
                  <a:pt x="147743" y="356470"/>
                </a:cubicBezTo>
                <a:cubicBezTo>
                  <a:pt x="146183" y="357181"/>
                  <a:pt x="138197" y="336865"/>
                  <a:pt x="139938" y="335939"/>
                </a:cubicBezTo>
                <a:cubicBezTo>
                  <a:pt x="140916" y="335417"/>
                  <a:pt x="140762" y="336865"/>
                  <a:pt x="141868" y="336205"/>
                </a:cubicBezTo>
                <a:cubicBezTo>
                  <a:pt x="143009" y="335519"/>
                  <a:pt x="141070" y="334114"/>
                  <a:pt x="140548" y="331911"/>
                </a:cubicBezTo>
                <a:cubicBezTo>
                  <a:pt x="139999" y="329607"/>
                  <a:pt x="138000" y="329555"/>
                  <a:pt x="137828" y="327019"/>
                </a:cubicBezTo>
                <a:cubicBezTo>
                  <a:pt x="137674" y="324491"/>
                  <a:pt x="141285" y="325339"/>
                  <a:pt x="141243" y="324105"/>
                </a:cubicBezTo>
                <a:cubicBezTo>
                  <a:pt x="141199" y="322872"/>
                  <a:pt x="141525" y="321466"/>
                  <a:pt x="142545" y="320584"/>
                </a:cubicBezTo>
                <a:cubicBezTo>
                  <a:pt x="143738" y="319555"/>
                  <a:pt x="146526" y="320634"/>
                  <a:pt x="147126" y="317070"/>
                </a:cubicBezTo>
                <a:cubicBezTo>
                  <a:pt x="147641" y="314028"/>
                  <a:pt x="149176" y="316848"/>
                  <a:pt x="149494" y="319109"/>
                </a:cubicBezTo>
                <a:cubicBezTo>
                  <a:pt x="149863" y="321731"/>
                  <a:pt x="156570" y="322391"/>
                  <a:pt x="156896" y="320592"/>
                </a:cubicBezTo>
                <a:cubicBezTo>
                  <a:pt x="157093" y="319452"/>
                  <a:pt x="154185" y="319495"/>
                  <a:pt x="154185" y="318484"/>
                </a:cubicBezTo>
                <a:cubicBezTo>
                  <a:pt x="154176" y="316547"/>
                  <a:pt x="157873" y="318398"/>
                  <a:pt x="160395" y="318621"/>
                </a:cubicBezTo>
                <a:cubicBezTo>
                  <a:pt x="161493" y="318715"/>
                  <a:pt x="163475" y="316942"/>
                  <a:pt x="165979" y="318235"/>
                </a:cubicBezTo>
                <a:cubicBezTo>
                  <a:pt x="168707" y="319649"/>
                  <a:pt x="170388" y="320335"/>
                  <a:pt x="172198" y="320626"/>
                </a:cubicBezTo>
                <a:cubicBezTo>
                  <a:pt x="166125" y="302109"/>
                  <a:pt x="162599" y="282443"/>
                  <a:pt x="162068" y="262048"/>
                </a:cubicBezTo>
                <a:lnTo>
                  <a:pt x="122766" y="262048"/>
                </a:lnTo>
                <a:cubicBezTo>
                  <a:pt x="124113" y="323823"/>
                  <a:pt x="148121" y="381774"/>
                  <a:pt x="190836" y="426350"/>
                </a:cubicBezTo>
                <a:close/>
                <a:moveTo>
                  <a:pt x="352955" y="198903"/>
                </a:moveTo>
                <a:cubicBezTo>
                  <a:pt x="353230" y="199323"/>
                  <a:pt x="350382" y="201911"/>
                  <a:pt x="348924" y="204422"/>
                </a:cubicBezTo>
                <a:cubicBezTo>
                  <a:pt x="353470" y="202717"/>
                  <a:pt x="358196" y="201620"/>
                  <a:pt x="363051" y="201149"/>
                </a:cubicBezTo>
                <a:lnTo>
                  <a:pt x="363051" y="161783"/>
                </a:lnTo>
                <a:cubicBezTo>
                  <a:pt x="340973" y="163051"/>
                  <a:pt x="320894" y="171877"/>
                  <a:pt x="305369" y="185707"/>
                </a:cubicBezTo>
                <a:lnTo>
                  <a:pt x="333185" y="213496"/>
                </a:lnTo>
                <a:cubicBezTo>
                  <a:pt x="336385" y="210875"/>
                  <a:pt x="339858" y="208604"/>
                  <a:pt x="343598" y="206727"/>
                </a:cubicBezTo>
                <a:cubicBezTo>
                  <a:pt x="344567" y="206247"/>
                  <a:pt x="345544" y="205802"/>
                  <a:pt x="346531" y="205382"/>
                </a:cubicBezTo>
                <a:cubicBezTo>
                  <a:pt x="348435" y="202057"/>
                  <a:pt x="352595" y="198355"/>
                  <a:pt x="352955" y="198903"/>
                </a:cubicBezTo>
                <a:close/>
                <a:moveTo>
                  <a:pt x="255835" y="345674"/>
                </a:moveTo>
                <a:cubicBezTo>
                  <a:pt x="255843" y="346453"/>
                  <a:pt x="255809" y="347224"/>
                  <a:pt x="255646" y="347953"/>
                </a:cubicBezTo>
                <a:cubicBezTo>
                  <a:pt x="257687" y="350455"/>
                  <a:pt x="259772" y="352914"/>
                  <a:pt x="261968" y="355279"/>
                </a:cubicBezTo>
                <a:lnTo>
                  <a:pt x="289835" y="327438"/>
                </a:lnTo>
                <a:cubicBezTo>
                  <a:pt x="276720" y="312914"/>
                  <a:pt x="267577" y="294756"/>
                  <a:pt x="264095" y="274679"/>
                </a:cubicBezTo>
                <a:cubicBezTo>
                  <a:pt x="263263" y="274902"/>
                  <a:pt x="262517" y="274791"/>
                  <a:pt x="262053" y="273985"/>
                </a:cubicBezTo>
                <a:cubicBezTo>
                  <a:pt x="261488" y="273008"/>
                  <a:pt x="262311" y="272014"/>
                  <a:pt x="263512" y="271020"/>
                </a:cubicBezTo>
                <a:cubicBezTo>
                  <a:pt x="263109" y="268064"/>
                  <a:pt x="262817" y="265073"/>
                  <a:pt x="262663" y="262048"/>
                </a:cubicBezTo>
                <a:lnTo>
                  <a:pt x="244110" y="262048"/>
                </a:lnTo>
                <a:cubicBezTo>
                  <a:pt x="244299" y="264996"/>
                  <a:pt x="245482" y="269246"/>
                  <a:pt x="243535" y="270729"/>
                </a:cubicBezTo>
                <a:cubicBezTo>
                  <a:pt x="241931" y="271945"/>
                  <a:pt x="239658" y="270712"/>
                  <a:pt x="238208" y="270909"/>
                </a:cubicBezTo>
                <a:cubicBezTo>
                  <a:pt x="234649" y="271388"/>
                  <a:pt x="233834" y="275681"/>
                  <a:pt x="234777" y="278595"/>
                </a:cubicBezTo>
                <a:cubicBezTo>
                  <a:pt x="235395" y="280558"/>
                  <a:pt x="236252" y="282074"/>
                  <a:pt x="235910" y="284191"/>
                </a:cubicBezTo>
                <a:cubicBezTo>
                  <a:pt x="235592" y="286179"/>
                  <a:pt x="234511" y="287729"/>
                  <a:pt x="237659" y="289392"/>
                </a:cubicBezTo>
                <a:cubicBezTo>
                  <a:pt x="240541" y="290901"/>
                  <a:pt x="245208" y="296813"/>
                  <a:pt x="244822" y="297832"/>
                </a:cubicBezTo>
                <a:cubicBezTo>
                  <a:pt x="244324" y="299144"/>
                  <a:pt x="241459" y="296607"/>
                  <a:pt x="241280" y="298981"/>
                </a:cubicBezTo>
                <a:cubicBezTo>
                  <a:pt x="241168" y="300437"/>
                  <a:pt x="245508" y="298569"/>
                  <a:pt x="245259" y="303505"/>
                </a:cubicBezTo>
                <a:cubicBezTo>
                  <a:pt x="245113" y="306375"/>
                  <a:pt x="245834" y="309520"/>
                  <a:pt x="246666" y="311492"/>
                </a:cubicBezTo>
                <a:cubicBezTo>
                  <a:pt x="248381" y="315596"/>
                  <a:pt x="250354" y="318304"/>
                  <a:pt x="250182" y="322931"/>
                </a:cubicBezTo>
                <a:cubicBezTo>
                  <a:pt x="250046" y="326770"/>
                  <a:pt x="249368" y="330952"/>
                  <a:pt x="251049" y="334568"/>
                </a:cubicBezTo>
                <a:cubicBezTo>
                  <a:pt x="252782" y="338287"/>
                  <a:pt x="255818" y="341294"/>
                  <a:pt x="255835" y="345674"/>
                </a:cubicBezTo>
                <a:close/>
                <a:moveTo>
                  <a:pt x="232668" y="279444"/>
                </a:moveTo>
                <a:cubicBezTo>
                  <a:pt x="230377" y="276821"/>
                  <a:pt x="234186" y="269366"/>
                  <a:pt x="234752" y="267901"/>
                </a:cubicBezTo>
                <a:cubicBezTo>
                  <a:pt x="235361" y="266350"/>
                  <a:pt x="238818" y="264354"/>
                  <a:pt x="239855" y="262048"/>
                </a:cubicBezTo>
                <a:lnTo>
                  <a:pt x="223344" y="262048"/>
                </a:lnTo>
                <a:cubicBezTo>
                  <a:pt x="223661" y="270678"/>
                  <a:pt x="224751" y="279161"/>
                  <a:pt x="226534" y="287455"/>
                </a:cubicBezTo>
                <a:cubicBezTo>
                  <a:pt x="230498" y="288904"/>
                  <a:pt x="238115" y="285673"/>
                  <a:pt x="232668" y="279444"/>
                </a:cubicBezTo>
                <a:close/>
                <a:moveTo>
                  <a:pt x="222306" y="385519"/>
                </a:moveTo>
                <a:cubicBezTo>
                  <a:pt x="222186" y="385587"/>
                  <a:pt x="222049" y="385639"/>
                  <a:pt x="221912" y="385691"/>
                </a:cubicBezTo>
                <a:cubicBezTo>
                  <a:pt x="223413" y="387395"/>
                  <a:pt x="224940" y="389075"/>
                  <a:pt x="226501" y="390720"/>
                </a:cubicBezTo>
                <a:lnTo>
                  <a:pt x="229649" y="387576"/>
                </a:lnTo>
                <a:cubicBezTo>
                  <a:pt x="226697" y="385716"/>
                  <a:pt x="223979" y="384542"/>
                  <a:pt x="222306" y="385519"/>
                </a:cubicBezTo>
                <a:close/>
                <a:moveTo>
                  <a:pt x="289835" y="185690"/>
                </a:moveTo>
                <a:lnTo>
                  <a:pt x="262045" y="157926"/>
                </a:lnTo>
                <a:cubicBezTo>
                  <a:pt x="239135" y="182588"/>
                  <a:pt x="224691" y="215193"/>
                  <a:pt x="223352" y="251080"/>
                </a:cubicBezTo>
                <a:lnTo>
                  <a:pt x="242823" y="251080"/>
                </a:lnTo>
                <a:cubicBezTo>
                  <a:pt x="246083" y="245836"/>
                  <a:pt x="244976" y="241842"/>
                  <a:pt x="246066" y="238792"/>
                </a:cubicBezTo>
                <a:cubicBezTo>
                  <a:pt x="247112" y="235887"/>
                  <a:pt x="248827" y="233222"/>
                  <a:pt x="250440" y="230609"/>
                </a:cubicBezTo>
                <a:cubicBezTo>
                  <a:pt x="251872" y="228304"/>
                  <a:pt x="253502" y="225707"/>
                  <a:pt x="256504" y="225690"/>
                </a:cubicBezTo>
                <a:cubicBezTo>
                  <a:pt x="262851" y="225656"/>
                  <a:pt x="264429" y="222339"/>
                  <a:pt x="268452" y="220498"/>
                </a:cubicBezTo>
                <a:cubicBezTo>
                  <a:pt x="272475" y="218655"/>
                  <a:pt x="279594" y="217567"/>
                  <a:pt x="278788" y="215467"/>
                </a:cubicBezTo>
                <a:cubicBezTo>
                  <a:pt x="278239" y="214054"/>
                  <a:pt x="263932" y="219597"/>
                  <a:pt x="263623" y="218518"/>
                </a:cubicBezTo>
                <a:cubicBezTo>
                  <a:pt x="263083" y="216624"/>
                  <a:pt x="268135" y="216804"/>
                  <a:pt x="270262" y="214884"/>
                </a:cubicBezTo>
                <a:cubicBezTo>
                  <a:pt x="270682" y="214491"/>
                  <a:pt x="271094" y="214251"/>
                  <a:pt x="271488" y="214054"/>
                </a:cubicBezTo>
                <a:cubicBezTo>
                  <a:pt x="276086" y="203616"/>
                  <a:pt x="282288" y="194045"/>
                  <a:pt x="289835" y="185690"/>
                </a:cubicBezTo>
                <a:close/>
                <a:moveTo>
                  <a:pt x="284826" y="211672"/>
                </a:moveTo>
                <a:cubicBezTo>
                  <a:pt x="285203" y="211508"/>
                  <a:pt x="285581" y="211329"/>
                  <a:pt x="285975" y="211106"/>
                </a:cubicBezTo>
                <a:cubicBezTo>
                  <a:pt x="290744" y="208381"/>
                  <a:pt x="297014" y="208903"/>
                  <a:pt x="299682" y="210060"/>
                </a:cubicBezTo>
                <a:cubicBezTo>
                  <a:pt x="303121" y="211560"/>
                  <a:pt x="307521" y="215382"/>
                  <a:pt x="309520" y="216907"/>
                </a:cubicBezTo>
                <a:cubicBezTo>
                  <a:pt x="310387" y="217567"/>
                  <a:pt x="310798" y="216341"/>
                  <a:pt x="314847" y="215733"/>
                </a:cubicBezTo>
                <a:cubicBezTo>
                  <a:pt x="316536" y="215485"/>
                  <a:pt x="316923" y="217181"/>
                  <a:pt x="319333" y="217524"/>
                </a:cubicBezTo>
                <a:cubicBezTo>
                  <a:pt x="320302" y="217661"/>
                  <a:pt x="321099" y="217704"/>
                  <a:pt x="321829" y="217652"/>
                </a:cubicBezTo>
                <a:lnTo>
                  <a:pt x="297606" y="193462"/>
                </a:lnTo>
                <a:cubicBezTo>
                  <a:pt x="292674" y="198989"/>
                  <a:pt x="288377" y="205107"/>
                  <a:pt x="284826" y="211672"/>
                </a:cubicBezTo>
                <a:close/>
                <a:moveTo>
                  <a:pt x="257550" y="241568"/>
                </a:moveTo>
                <a:cubicBezTo>
                  <a:pt x="254471" y="241251"/>
                  <a:pt x="251349" y="242528"/>
                  <a:pt x="249694" y="245202"/>
                </a:cubicBezTo>
                <a:cubicBezTo>
                  <a:pt x="248536" y="247053"/>
                  <a:pt x="248210" y="249126"/>
                  <a:pt x="248604" y="251080"/>
                </a:cubicBezTo>
                <a:lnTo>
                  <a:pt x="262663" y="251080"/>
                </a:lnTo>
                <a:cubicBezTo>
                  <a:pt x="262800" y="248424"/>
                  <a:pt x="263040" y="245793"/>
                  <a:pt x="263366" y="243196"/>
                </a:cubicBezTo>
                <a:cubicBezTo>
                  <a:pt x="261555" y="242254"/>
                  <a:pt x="259403" y="241757"/>
                  <a:pt x="257550" y="241568"/>
                </a:cubicBezTo>
                <a:close/>
                <a:moveTo>
                  <a:pt x="297615" y="319675"/>
                </a:moveTo>
                <a:lnTo>
                  <a:pt x="325448" y="291860"/>
                </a:lnTo>
                <a:cubicBezTo>
                  <a:pt x="323175" y="289100"/>
                  <a:pt x="321185" y="286110"/>
                  <a:pt x="319469" y="282948"/>
                </a:cubicBezTo>
                <a:lnTo>
                  <a:pt x="319461" y="282965"/>
                </a:lnTo>
                <a:cubicBezTo>
                  <a:pt x="319024" y="283471"/>
                  <a:pt x="318655" y="283985"/>
                  <a:pt x="318432" y="284474"/>
                </a:cubicBezTo>
                <a:cubicBezTo>
                  <a:pt x="317858" y="285716"/>
                  <a:pt x="318603" y="289855"/>
                  <a:pt x="316880" y="291629"/>
                </a:cubicBezTo>
                <a:cubicBezTo>
                  <a:pt x="314658" y="293925"/>
                  <a:pt x="308689" y="286573"/>
                  <a:pt x="306801" y="285965"/>
                </a:cubicBezTo>
                <a:cubicBezTo>
                  <a:pt x="304237" y="285159"/>
                  <a:pt x="303010" y="287978"/>
                  <a:pt x="303147" y="288792"/>
                </a:cubicBezTo>
                <a:cubicBezTo>
                  <a:pt x="303490" y="290909"/>
                  <a:pt x="303062" y="291757"/>
                  <a:pt x="302135" y="291946"/>
                </a:cubicBezTo>
                <a:cubicBezTo>
                  <a:pt x="301208" y="292126"/>
                  <a:pt x="296543" y="288955"/>
                  <a:pt x="298627" y="288158"/>
                </a:cubicBezTo>
                <a:cubicBezTo>
                  <a:pt x="301055" y="287242"/>
                  <a:pt x="297992" y="285150"/>
                  <a:pt x="296946" y="284336"/>
                </a:cubicBezTo>
                <a:cubicBezTo>
                  <a:pt x="295145" y="282948"/>
                  <a:pt x="292332" y="284242"/>
                  <a:pt x="291010" y="282400"/>
                </a:cubicBezTo>
                <a:cubicBezTo>
                  <a:pt x="289595" y="280420"/>
                  <a:pt x="286928" y="278998"/>
                  <a:pt x="286104" y="278758"/>
                </a:cubicBezTo>
                <a:cubicBezTo>
                  <a:pt x="285546" y="278595"/>
                  <a:pt x="282810" y="277438"/>
                  <a:pt x="281018" y="278381"/>
                </a:cubicBezTo>
                <a:cubicBezTo>
                  <a:pt x="279611" y="279135"/>
                  <a:pt x="278093" y="277601"/>
                  <a:pt x="277038" y="276573"/>
                </a:cubicBezTo>
                <a:cubicBezTo>
                  <a:pt x="276455" y="276007"/>
                  <a:pt x="275871" y="275348"/>
                  <a:pt x="275254" y="274705"/>
                </a:cubicBezTo>
                <a:cubicBezTo>
                  <a:pt x="278573" y="291757"/>
                  <a:pt x="286473" y="307190"/>
                  <a:pt x="297615" y="319675"/>
                </a:cubicBezTo>
                <a:close/>
                <a:moveTo>
                  <a:pt x="325474" y="271646"/>
                </a:moveTo>
                <a:cubicBezTo>
                  <a:pt x="325482" y="271406"/>
                  <a:pt x="325500" y="271157"/>
                  <a:pt x="325526" y="270909"/>
                </a:cubicBezTo>
                <a:cubicBezTo>
                  <a:pt x="325534" y="270840"/>
                  <a:pt x="325534" y="270772"/>
                  <a:pt x="325543" y="270712"/>
                </a:cubicBezTo>
                <a:cubicBezTo>
                  <a:pt x="325560" y="270523"/>
                  <a:pt x="325585" y="270335"/>
                  <a:pt x="325602" y="270146"/>
                </a:cubicBezTo>
                <a:cubicBezTo>
                  <a:pt x="325620" y="270069"/>
                  <a:pt x="325628" y="269983"/>
                  <a:pt x="325637" y="269906"/>
                </a:cubicBezTo>
                <a:lnTo>
                  <a:pt x="325688" y="269546"/>
                </a:lnTo>
                <a:cubicBezTo>
                  <a:pt x="325706" y="269478"/>
                  <a:pt x="325714" y="269418"/>
                  <a:pt x="325723" y="269349"/>
                </a:cubicBezTo>
                <a:cubicBezTo>
                  <a:pt x="325731" y="269281"/>
                  <a:pt x="325748" y="269204"/>
                  <a:pt x="325757" y="269135"/>
                </a:cubicBezTo>
                <a:cubicBezTo>
                  <a:pt x="325800" y="268878"/>
                  <a:pt x="325851" y="268629"/>
                  <a:pt x="325911" y="268389"/>
                </a:cubicBezTo>
                <a:lnTo>
                  <a:pt x="325911" y="268372"/>
                </a:lnTo>
                <a:cubicBezTo>
                  <a:pt x="325963" y="268141"/>
                  <a:pt x="326023" y="267910"/>
                  <a:pt x="326092" y="267695"/>
                </a:cubicBezTo>
                <a:cubicBezTo>
                  <a:pt x="326109" y="267618"/>
                  <a:pt x="326134" y="267558"/>
                  <a:pt x="326152" y="267490"/>
                </a:cubicBezTo>
                <a:cubicBezTo>
                  <a:pt x="326203" y="267336"/>
                  <a:pt x="326246" y="267190"/>
                  <a:pt x="326306" y="267044"/>
                </a:cubicBezTo>
                <a:lnTo>
                  <a:pt x="326383" y="266838"/>
                </a:lnTo>
                <a:cubicBezTo>
                  <a:pt x="326443" y="266701"/>
                  <a:pt x="326495" y="266573"/>
                  <a:pt x="326563" y="266453"/>
                </a:cubicBezTo>
                <a:lnTo>
                  <a:pt x="326641" y="266290"/>
                </a:lnTo>
                <a:cubicBezTo>
                  <a:pt x="326734" y="266127"/>
                  <a:pt x="326829" y="265973"/>
                  <a:pt x="326932" y="265845"/>
                </a:cubicBezTo>
                <a:cubicBezTo>
                  <a:pt x="327292" y="265390"/>
                  <a:pt x="327773" y="265305"/>
                  <a:pt x="328339" y="265382"/>
                </a:cubicBezTo>
                <a:cubicBezTo>
                  <a:pt x="329316" y="265519"/>
                  <a:pt x="330543" y="266153"/>
                  <a:pt x="331735" y="266213"/>
                </a:cubicBezTo>
                <a:cubicBezTo>
                  <a:pt x="332593" y="266256"/>
                  <a:pt x="333433" y="266007"/>
                  <a:pt x="334163" y="265064"/>
                </a:cubicBezTo>
                <a:cubicBezTo>
                  <a:pt x="334497" y="264636"/>
                  <a:pt x="334806" y="264148"/>
                  <a:pt x="335029" y="263668"/>
                </a:cubicBezTo>
                <a:cubicBezTo>
                  <a:pt x="335261" y="263188"/>
                  <a:pt x="335406" y="262717"/>
                  <a:pt x="335415" y="262331"/>
                </a:cubicBezTo>
                <a:cubicBezTo>
                  <a:pt x="335415" y="262143"/>
                  <a:pt x="335389" y="261971"/>
                  <a:pt x="335321" y="261825"/>
                </a:cubicBezTo>
                <a:cubicBezTo>
                  <a:pt x="335115" y="261405"/>
                  <a:pt x="334548" y="261269"/>
                  <a:pt x="333433" y="261654"/>
                </a:cubicBezTo>
                <a:cubicBezTo>
                  <a:pt x="333202" y="261732"/>
                  <a:pt x="332979" y="261809"/>
                  <a:pt x="332748" y="261869"/>
                </a:cubicBezTo>
                <a:cubicBezTo>
                  <a:pt x="332284" y="261997"/>
                  <a:pt x="331830" y="262083"/>
                  <a:pt x="331392" y="262100"/>
                </a:cubicBezTo>
                <a:cubicBezTo>
                  <a:pt x="331169" y="262108"/>
                  <a:pt x="330963" y="262100"/>
                  <a:pt x="330758" y="262065"/>
                </a:cubicBezTo>
                <a:cubicBezTo>
                  <a:pt x="330140" y="261980"/>
                  <a:pt x="329600" y="261706"/>
                  <a:pt x="329188" y="261148"/>
                </a:cubicBezTo>
                <a:cubicBezTo>
                  <a:pt x="329059" y="260960"/>
                  <a:pt x="328939" y="260746"/>
                  <a:pt x="328836" y="260488"/>
                </a:cubicBezTo>
                <a:cubicBezTo>
                  <a:pt x="328708" y="260163"/>
                  <a:pt x="328553" y="259880"/>
                  <a:pt x="328373" y="259631"/>
                </a:cubicBezTo>
                <a:cubicBezTo>
                  <a:pt x="327679" y="258621"/>
                  <a:pt x="326658" y="258115"/>
                  <a:pt x="325594" y="257481"/>
                </a:cubicBezTo>
                <a:cubicBezTo>
                  <a:pt x="325062" y="257164"/>
                  <a:pt x="324522" y="256830"/>
                  <a:pt x="323999" y="256376"/>
                </a:cubicBezTo>
                <a:cubicBezTo>
                  <a:pt x="323742" y="256153"/>
                  <a:pt x="323484" y="255904"/>
                  <a:pt x="323244" y="255622"/>
                </a:cubicBezTo>
                <a:cubicBezTo>
                  <a:pt x="323047" y="255399"/>
                  <a:pt x="322858" y="255185"/>
                  <a:pt x="322661" y="254979"/>
                </a:cubicBezTo>
                <a:cubicBezTo>
                  <a:pt x="322583" y="254902"/>
                  <a:pt x="322506" y="254834"/>
                  <a:pt x="322429" y="254765"/>
                </a:cubicBezTo>
                <a:cubicBezTo>
                  <a:pt x="322300" y="254636"/>
                  <a:pt x="322180" y="254516"/>
                  <a:pt x="322043" y="254396"/>
                </a:cubicBezTo>
                <a:cubicBezTo>
                  <a:pt x="321949" y="254310"/>
                  <a:pt x="321846" y="254225"/>
                  <a:pt x="321751" y="254148"/>
                </a:cubicBezTo>
                <a:cubicBezTo>
                  <a:pt x="321640" y="254054"/>
                  <a:pt x="321528" y="253967"/>
                  <a:pt x="321417" y="253882"/>
                </a:cubicBezTo>
                <a:cubicBezTo>
                  <a:pt x="321297" y="253788"/>
                  <a:pt x="321185" y="253711"/>
                  <a:pt x="321065" y="253625"/>
                </a:cubicBezTo>
                <a:cubicBezTo>
                  <a:pt x="320970" y="253565"/>
                  <a:pt x="320868" y="253497"/>
                  <a:pt x="320765" y="253436"/>
                </a:cubicBezTo>
                <a:cubicBezTo>
                  <a:pt x="320636" y="253351"/>
                  <a:pt x="320508" y="253274"/>
                  <a:pt x="320370" y="253205"/>
                </a:cubicBezTo>
                <a:lnTo>
                  <a:pt x="320113" y="253077"/>
                </a:lnTo>
                <a:cubicBezTo>
                  <a:pt x="319967" y="253008"/>
                  <a:pt x="319813" y="252939"/>
                  <a:pt x="319667" y="252880"/>
                </a:cubicBezTo>
                <a:cubicBezTo>
                  <a:pt x="319598" y="252854"/>
                  <a:pt x="319530" y="252837"/>
                  <a:pt x="319461" y="252811"/>
                </a:cubicBezTo>
                <a:cubicBezTo>
                  <a:pt x="319290" y="252759"/>
                  <a:pt x="319118" y="252700"/>
                  <a:pt x="318947" y="252665"/>
                </a:cubicBezTo>
                <a:lnTo>
                  <a:pt x="318843" y="252648"/>
                </a:lnTo>
                <a:cubicBezTo>
                  <a:pt x="317531" y="252400"/>
                  <a:pt x="316159" y="252742"/>
                  <a:pt x="314829" y="254028"/>
                </a:cubicBezTo>
                <a:lnTo>
                  <a:pt x="314778" y="254071"/>
                </a:lnTo>
                <a:cubicBezTo>
                  <a:pt x="314572" y="254276"/>
                  <a:pt x="314358" y="254508"/>
                  <a:pt x="314152" y="254765"/>
                </a:cubicBezTo>
                <a:lnTo>
                  <a:pt x="314083" y="254842"/>
                </a:lnTo>
                <a:cubicBezTo>
                  <a:pt x="313878" y="255107"/>
                  <a:pt x="313671" y="255381"/>
                  <a:pt x="313466" y="255699"/>
                </a:cubicBezTo>
                <a:cubicBezTo>
                  <a:pt x="313457" y="255724"/>
                  <a:pt x="313440" y="255750"/>
                  <a:pt x="313414" y="255776"/>
                </a:cubicBezTo>
                <a:cubicBezTo>
                  <a:pt x="313208" y="256101"/>
                  <a:pt x="313002" y="256453"/>
                  <a:pt x="312797" y="256830"/>
                </a:cubicBezTo>
                <a:cubicBezTo>
                  <a:pt x="312368" y="257619"/>
                  <a:pt x="311956" y="258501"/>
                  <a:pt x="311562" y="259546"/>
                </a:cubicBezTo>
                <a:cubicBezTo>
                  <a:pt x="308371" y="267892"/>
                  <a:pt x="304674" y="265339"/>
                  <a:pt x="305283" y="268313"/>
                </a:cubicBezTo>
                <a:cubicBezTo>
                  <a:pt x="305351" y="268663"/>
                  <a:pt x="306252" y="268904"/>
                  <a:pt x="307556" y="269006"/>
                </a:cubicBezTo>
                <a:cubicBezTo>
                  <a:pt x="308079" y="269049"/>
                  <a:pt x="308671" y="269075"/>
                  <a:pt x="309288" y="269075"/>
                </a:cubicBezTo>
                <a:cubicBezTo>
                  <a:pt x="309915" y="269075"/>
                  <a:pt x="310584" y="269058"/>
                  <a:pt x="311253" y="269015"/>
                </a:cubicBezTo>
                <a:cubicBezTo>
                  <a:pt x="311931" y="268981"/>
                  <a:pt x="312616" y="268921"/>
                  <a:pt x="313285" y="268835"/>
                </a:cubicBezTo>
                <a:cubicBezTo>
                  <a:pt x="313620" y="268792"/>
                  <a:pt x="313946" y="268741"/>
                  <a:pt x="314264" y="268690"/>
                </a:cubicBezTo>
                <a:cubicBezTo>
                  <a:pt x="314460" y="268663"/>
                  <a:pt x="314640" y="268629"/>
                  <a:pt x="314829" y="268595"/>
                </a:cubicBezTo>
                <a:cubicBezTo>
                  <a:pt x="315010" y="268561"/>
                  <a:pt x="315189" y="268527"/>
                  <a:pt x="315370" y="268484"/>
                </a:cubicBezTo>
                <a:lnTo>
                  <a:pt x="315841" y="268381"/>
                </a:lnTo>
                <a:cubicBezTo>
                  <a:pt x="316048" y="268330"/>
                  <a:pt x="316236" y="268270"/>
                  <a:pt x="316425" y="268218"/>
                </a:cubicBezTo>
                <a:cubicBezTo>
                  <a:pt x="316545" y="268184"/>
                  <a:pt x="316665" y="268149"/>
                  <a:pt x="316768" y="268115"/>
                </a:cubicBezTo>
                <a:cubicBezTo>
                  <a:pt x="317068" y="268021"/>
                  <a:pt x="317343" y="267918"/>
                  <a:pt x="317583" y="267806"/>
                </a:cubicBezTo>
                <a:cubicBezTo>
                  <a:pt x="318011" y="267610"/>
                  <a:pt x="318449" y="267438"/>
                  <a:pt x="318878" y="267292"/>
                </a:cubicBezTo>
                <a:lnTo>
                  <a:pt x="318921" y="267284"/>
                </a:lnTo>
                <a:cubicBezTo>
                  <a:pt x="319332" y="267147"/>
                  <a:pt x="319744" y="267044"/>
                  <a:pt x="320139" y="266976"/>
                </a:cubicBezTo>
                <a:cubicBezTo>
                  <a:pt x="320970" y="266822"/>
                  <a:pt x="321734" y="266830"/>
                  <a:pt x="322335" y="267044"/>
                </a:cubicBezTo>
                <a:cubicBezTo>
                  <a:pt x="322772" y="267198"/>
                  <a:pt x="323673" y="267575"/>
                  <a:pt x="324316" y="268509"/>
                </a:cubicBezTo>
                <a:cubicBezTo>
                  <a:pt x="324848" y="269272"/>
                  <a:pt x="325354" y="270592"/>
                  <a:pt x="325474" y="271646"/>
                </a:cubicBezTo>
                <a:close/>
                <a:moveTo>
                  <a:pt x="363051" y="150797"/>
                </a:moveTo>
                <a:lnTo>
                  <a:pt x="363051" y="111517"/>
                </a:lnTo>
                <a:cubicBezTo>
                  <a:pt x="327120" y="112854"/>
                  <a:pt x="294484" y="127284"/>
                  <a:pt x="269798" y="150172"/>
                </a:cubicBezTo>
                <a:lnTo>
                  <a:pt x="297598" y="177935"/>
                </a:lnTo>
                <a:cubicBezTo>
                  <a:pt x="315130" y="162134"/>
                  <a:pt x="337945" y="152083"/>
                  <a:pt x="363051" y="150797"/>
                </a:cubicBezTo>
                <a:close/>
                <a:moveTo>
                  <a:pt x="363051" y="100540"/>
                </a:moveTo>
                <a:lnTo>
                  <a:pt x="363051" y="61260"/>
                </a:lnTo>
                <a:cubicBezTo>
                  <a:pt x="313268" y="62639"/>
                  <a:pt x="268075" y="82699"/>
                  <a:pt x="234255" y="114662"/>
                </a:cubicBezTo>
                <a:lnTo>
                  <a:pt x="262045" y="142416"/>
                </a:lnTo>
                <a:cubicBezTo>
                  <a:pt x="288720" y="117550"/>
                  <a:pt x="324093" y="101894"/>
                  <a:pt x="363051" y="100540"/>
                </a:cubicBezTo>
                <a:close/>
                <a:moveTo>
                  <a:pt x="226492" y="122408"/>
                </a:moveTo>
                <a:cubicBezTo>
                  <a:pt x="194507" y="156196"/>
                  <a:pt x="174428" y="201346"/>
                  <a:pt x="173055" y="251080"/>
                </a:cubicBezTo>
                <a:lnTo>
                  <a:pt x="212365" y="251080"/>
                </a:lnTo>
                <a:cubicBezTo>
                  <a:pt x="213721" y="212168"/>
                  <a:pt x="229391" y="176830"/>
                  <a:pt x="254282" y="150172"/>
                </a:cubicBezTo>
                <a:lnTo>
                  <a:pt x="226492" y="122408"/>
                </a:lnTo>
                <a:close/>
                <a:moveTo>
                  <a:pt x="173055" y="262048"/>
                </a:moveTo>
                <a:cubicBezTo>
                  <a:pt x="173613" y="282417"/>
                  <a:pt x="177318" y="302005"/>
                  <a:pt x="183683" y="320369"/>
                </a:cubicBezTo>
                <a:cubicBezTo>
                  <a:pt x="183914" y="320352"/>
                  <a:pt x="184129" y="320343"/>
                  <a:pt x="184360" y="320335"/>
                </a:cubicBezTo>
                <a:cubicBezTo>
                  <a:pt x="188349" y="320146"/>
                  <a:pt x="193684" y="320275"/>
                  <a:pt x="196197" y="318338"/>
                </a:cubicBezTo>
                <a:cubicBezTo>
                  <a:pt x="200065" y="315356"/>
                  <a:pt x="196488" y="304688"/>
                  <a:pt x="198916" y="300241"/>
                </a:cubicBezTo>
                <a:cubicBezTo>
                  <a:pt x="201909" y="294739"/>
                  <a:pt x="209389" y="281688"/>
                  <a:pt x="211636" y="281603"/>
                </a:cubicBezTo>
                <a:cubicBezTo>
                  <a:pt x="213626" y="281526"/>
                  <a:pt x="213540" y="283008"/>
                  <a:pt x="214552" y="283248"/>
                </a:cubicBezTo>
                <a:cubicBezTo>
                  <a:pt x="213360" y="276290"/>
                  <a:pt x="212614" y="269221"/>
                  <a:pt x="212373" y="262048"/>
                </a:cubicBezTo>
                <a:lnTo>
                  <a:pt x="173055" y="262048"/>
                </a:lnTo>
                <a:close/>
                <a:moveTo>
                  <a:pt x="363051" y="462837"/>
                </a:moveTo>
                <a:cubicBezTo>
                  <a:pt x="310241" y="461458"/>
                  <a:pt x="262302" y="440172"/>
                  <a:pt x="226492" y="406230"/>
                </a:cubicBezTo>
                <a:lnTo>
                  <a:pt x="198590" y="434105"/>
                </a:lnTo>
                <a:cubicBezTo>
                  <a:pt x="243209" y="476770"/>
                  <a:pt x="301218" y="500754"/>
                  <a:pt x="363051" y="502101"/>
                </a:cubicBezTo>
                <a:lnTo>
                  <a:pt x="363051" y="462837"/>
                </a:lnTo>
                <a:close/>
                <a:moveTo>
                  <a:pt x="363051" y="412597"/>
                </a:moveTo>
                <a:cubicBezTo>
                  <a:pt x="328176" y="411397"/>
                  <a:pt x="295334" y="398836"/>
                  <a:pt x="268735" y="376718"/>
                </a:cubicBezTo>
                <a:cubicBezTo>
                  <a:pt x="269335" y="377447"/>
                  <a:pt x="269859" y="378150"/>
                  <a:pt x="270262" y="378827"/>
                </a:cubicBezTo>
                <a:cubicBezTo>
                  <a:pt x="272072" y="381945"/>
                  <a:pt x="278367" y="388287"/>
                  <a:pt x="274362" y="390823"/>
                </a:cubicBezTo>
                <a:cubicBezTo>
                  <a:pt x="271034" y="392923"/>
                  <a:pt x="265519" y="391509"/>
                  <a:pt x="262431" y="391457"/>
                </a:cubicBezTo>
                <a:cubicBezTo>
                  <a:pt x="259026" y="391414"/>
                  <a:pt x="254077" y="396496"/>
                  <a:pt x="251161" y="397002"/>
                </a:cubicBezTo>
                <a:cubicBezTo>
                  <a:pt x="247447" y="397635"/>
                  <a:pt x="245319" y="397353"/>
                  <a:pt x="241845" y="395947"/>
                </a:cubicBezTo>
                <a:cubicBezTo>
                  <a:pt x="240988" y="395596"/>
                  <a:pt x="239907" y="394919"/>
                  <a:pt x="238680" y="394054"/>
                </a:cubicBezTo>
                <a:lnTo>
                  <a:pt x="234255" y="398475"/>
                </a:lnTo>
                <a:cubicBezTo>
                  <a:pt x="268075" y="430429"/>
                  <a:pt x="313268" y="450489"/>
                  <a:pt x="363051" y="451869"/>
                </a:cubicBezTo>
                <a:lnTo>
                  <a:pt x="363051" y="412597"/>
                </a:lnTo>
                <a:close/>
                <a:moveTo>
                  <a:pt x="363051" y="398792"/>
                </a:moveTo>
                <a:cubicBezTo>
                  <a:pt x="357519" y="399204"/>
                  <a:pt x="349156" y="399067"/>
                  <a:pt x="347174" y="397704"/>
                </a:cubicBezTo>
                <a:cubicBezTo>
                  <a:pt x="343049" y="394850"/>
                  <a:pt x="338134" y="392049"/>
                  <a:pt x="337576" y="389838"/>
                </a:cubicBezTo>
                <a:cubicBezTo>
                  <a:pt x="336581" y="385913"/>
                  <a:pt x="331204" y="382966"/>
                  <a:pt x="331204" y="379289"/>
                </a:cubicBezTo>
                <a:cubicBezTo>
                  <a:pt x="331204" y="375202"/>
                  <a:pt x="336856" y="373865"/>
                  <a:pt x="335346" y="369718"/>
                </a:cubicBezTo>
                <a:cubicBezTo>
                  <a:pt x="334137" y="366419"/>
                  <a:pt x="337353" y="362288"/>
                  <a:pt x="343238" y="359409"/>
                </a:cubicBezTo>
                <a:cubicBezTo>
                  <a:pt x="325989" y="355168"/>
                  <a:pt x="310387" y="346719"/>
                  <a:pt x="297598" y="335193"/>
                </a:cubicBezTo>
                <a:lnTo>
                  <a:pt x="269747" y="363017"/>
                </a:lnTo>
                <a:cubicBezTo>
                  <a:pt x="295342" y="386770"/>
                  <a:pt x="328098" y="400309"/>
                  <a:pt x="363051" y="401603"/>
                </a:cubicBezTo>
                <a:lnTo>
                  <a:pt x="363051" y="398792"/>
                </a:lnTo>
                <a:close/>
                <a:moveTo>
                  <a:pt x="371551" y="346307"/>
                </a:moveTo>
                <a:cubicBezTo>
                  <a:pt x="375737" y="345604"/>
                  <a:pt x="380180" y="344396"/>
                  <a:pt x="383954" y="344020"/>
                </a:cubicBezTo>
                <a:cubicBezTo>
                  <a:pt x="388088" y="343608"/>
                  <a:pt x="383782" y="349487"/>
                  <a:pt x="386235" y="349726"/>
                </a:cubicBezTo>
                <a:cubicBezTo>
                  <a:pt x="389169" y="350018"/>
                  <a:pt x="401228" y="352074"/>
                  <a:pt x="402078" y="349341"/>
                </a:cubicBezTo>
                <a:cubicBezTo>
                  <a:pt x="402773" y="347096"/>
                  <a:pt x="402936" y="346085"/>
                  <a:pt x="405526" y="345528"/>
                </a:cubicBezTo>
                <a:cubicBezTo>
                  <a:pt x="410406" y="344465"/>
                  <a:pt x="414274" y="344619"/>
                  <a:pt x="418409" y="341466"/>
                </a:cubicBezTo>
                <a:cubicBezTo>
                  <a:pt x="419901" y="340326"/>
                  <a:pt x="422981" y="339915"/>
                  <a:pt x="423864" y="338227"/>
                </a:cubicBezTo>
                <a:cubicBezTo>
                  <a:pt x="424747" y="336539"/>
                  <a:pt x="423229" y="328552"/>
                  <a:pt x="420253" y="329855"/>
                </a:cubicBezTo>
                <a:cubicBezTo>
                  <a:pt x="418803" y="330498"/>
                  <a:pt x="417054" y="332563"/>
                  <a:pt x="413957" y="334123"/>
                </a:cubicBezTo>
                <a:cubicBezTo>
                  <a:pt x="411153" y="335528"/>
                  <a:pt x="409162" y="336170"/>
                  <a:pt x="407173" y="333505"/>
                </a:cubicBezTo>
                <a:cubicBezTo>
                  <a:pt x="405354" y="331080"/>
                  <a:pt x="408236" y="329178"/>
                  <a:pt x="409729" y="327550"/>
                </a:cubicBezTo>
                <a:cubicBezTo>
                  <a:pt x="412036" y="325021"/>
                  <a:pt x="414128" y="322460"/>
                  <a:pt x="416694" y="322460"/>
                </a:cubicBezTo>
                <a:cubicBezTo>
                  <a:pt x="417689" y="322460"/>
                  <a:pt x="422989" y="319829"/>
                  <a:pt x="422543" y="317421"/>
                </a:cubicBezTo>
                <a:cubicBezTo>
                  <a:pt x="421960" y="314302"/>
                  <a:pt x="415801" y="317704"/>
                  <a:pt x="414369" y="316419"/>
                </a:cubicBezTo>
                <a:cubicBezTo>
                  <a:pt x="413374" y="315536"/>
                  <a:pt x="414352" y="313291"/>
                  <a:pt x="413579" y="312948"/>
                </a:cubicBezTo>
                <a:cubicBezTo>
                  <a:pt x="412859" y="312614"/>
                  <a:pt x="410587" y="315716"/>
                  <a:pt x="412345" y="317396"/>
                </a:cubicBezTo>
                <a:cubicBezTo>
                  <a:pt x="413254" y="318269"/>
                  <a:pt x="410869" y="320703"/>
                  <a:pt x="408194" y="318955"/>
                </a:cubicBezTo>
                <a:cubicBezTo>
                  <a:pt x="406135" y="317593"/>
                  <a:pt x="405603" y="325090"/>
                  <a:pt x="405783" y="326462"/>
                </a:cubicBezTo>
                <a:cubicBezTo>
                  <a:pt x="405964" y="327833"/>
                  <a:pt x="408802" y="327455"/>
                  <a:pt x="406916" y="329923"/>
                </a:cubicBezTo>
                <a:cubicBezTo>
                  <a:pt x="405020" y="332408"/>
                  <a:pt x="404317" y="330566"/>
                  <a:pt x="402918" y="331783"/>
                </a:cubicBezTo>
                <a:cubicBezTo>
                  <a:pt x="401237" y="333257"/>
                  <a:pt x="400860" y="333822"/>
                  <a:pt x="402918" y="335956"/>
                </a:cubicBezTo>
                <a:cubicBezTo>
                  <a:pt x="404565" y="337652"/>
                  <a:pt x="401949" y="340875"/>
                  <a:pt x="401340" y="337858"/>
                </a:cubicBezTo>
                <a:cubicBezTo>
                  <a:pt x="400937" y="335853"/>
                  <a:pt x="396717" y="336462"/>
                  <a:pt x="395920" y="334191"/>
                </a:cubicBezTo>
                <a:cubicBezTo>
                  <a:pt x="395096" y="331852"/>
                  <a:pt x="391665" y="332083"/>
                  <a:pt x="387496" y="329949"/>
                </a:cubicBezTo>
                <a:cubicBezTo>
                  <a:pt x="384340" y="328329"/>
                  <a:pt x="384743" y="333111"/>
                  <a:pt x="390095" y="334328"/>
                </a:cubicBezTo>
                <a:cubicBezTo>
                  <a:pt x="394641" y="335365"/>
                  <a:pt x="394410" y="335904"/>
                  <a:pt x="393106" y="338749"/>
                </a:cubicBezTo>
                <a:cubicBezTo>
                  <a:pt x="392042" y="341080"/>
                  <a:pt x="392248" y="336958"/>
                  <a:pt x="386844" y="335528"/>
                </a:cubicBezTo>
                <a:cubicBezTo>
                  <a:pt x="383370" y="334610"/>
                  <a:pt x="383208" y="332760"/>
                  <a:pt x="380471" y="332794"/>
                </a:cubicBezTo>
                <a:cubicBezTo>
                  <a:pt x="377701" y="332820"/>
                  <a:pt x="378610" y="335442"/>
                  <a:pt x="375685" y="334756"/>
                </a:cubicBezTo>
                <a:cubicBezTo>
                  <a:pt x="373472" y="334233"/>
                  <a:pt x="373129" y="337215"/>
                  <a:pt x="371088" y="338081"/>
                </a:cubicBezTo>
                <a:cubicBezTo>
                  <a:pt x="368600" y="339144"/>
                  <a:pt x="368747" y="343642"/>
                  <a:pt x="366216" y="344885"/>
                </a:cubicBezTo>
                <a:cubicBezTo>
                  <a:pt x="362451" y="346727"/>
                  <a:pt x="354731" y="345339"/>
                  <a:pt x="355083" y="341612"/>
                </a:cubicBezTo>
                <a:cubicBezTo>
                  <a:pt x="355435" y="337884"/>
                  <a:pt x="355606" y="335099"/>
                  <a:pt x="357768" y="333788"/>
                </a:cubicBezTo>
                <a:cubicBezTo>
                  <a:pt x="359671" y="332648"/>
                  <a:pt x="362811" y="335990"/>
                  <a:pt x="365453" y="334808"/>
                </a:cubicBezTo>
                <a:cubicBezTo>
                  <a:pt x="368215" y="333582"/>
                  <a:pt x="367520" y="330643"/>
                  <a:pt x="365847" y="328758"/>
                </a:cubicBezTo>
                <a:cubicBezTo>
                  <a:pt x="365350" y="328115"/>
                  <a:pt x="363326" y="327113"/>
                  <a:pt x="363368" y="326479"/>
                </a:cubicBezTo>
                <a:cubicBezTo>
                  <a:pt x="363411" y="325699"/>
                  <a:pt x="367348" y="325330"/>
                  <a:pt x="369338" y="323994"/>
                </a:cubicBezTo>
                <a:cubicBezTo>
                  <a:pt x="371337" y="322657"/>
                  <a:pt x="373481" y="319092"/>
                  <a:pt x="374502" y="318295"/>
                </a:cubicBezTo>
                <a:cubicBezTo>
                  <a:pt x="375591" y="317447"/>
                  <a:pt x="377727" y="317233"/>
                  <a:pt x="377924" y="316444"/>
                </a:cubicBezTo>
                <a:cubicBezTo>
                  <a:pt x="378199" y="315442"/>
                  <a:pt x="376414" y="313616"/>
                  <a:pt x="376586" y="312391"/>
                </a:cubicBezTo>
                <a:cubicBezTo>
                  <a:pt x="376758" y="311166"/>
                  <a:pt x="377186" y="310223"/>
                  <a:pt x="378139" y="310292"/>
                </a:cubicBezTo>
                <a:cubicBezTo>
                  <a:pt x="379091" y="310369"/>
                  <a:pt x="380223" y="313111"/>
                  <a:pt x="379614" y="313771"/>
                </a:cubicBezTo>
                <a:cubicBezTo>
                  <a:pt x="378919" y="314516"/>
                  <a:pt x="380111" y="315776"/>
                  <a:pt x="381407" y="315245"/>
                </a:cubicBezTo>
                <a:cubicBezTo>
                  <a:pt x="382710" y="314713"/>
                  <a:pt x="387333" y="312905"/>
                  <a:pt x="388680" y="312554"/>
                </a:cubicBezTo>
                <a:cubicBezTo>
                  <a:pt x="390507" y="312066"/>
                  <a:pt x="388226" y="307935"/>
                  <a:pt x="388818" y="307198"/>
                </a:cubicBezTo>
                <a:cubicBezTo>
                  <a:pt x="389375" y="306504"/>
                  <a:pt x="389915" y="307421"/>
                  <a:pt x="390619" y="306718"/>
                </a:cubicBezTo>
                <a:cubicBezTo>
                  <a:pt x="391322" y="306016"/>
                  <a:pt x="389177" y="305322"/>
                  <a:pt x="389521" y="303822"/>
                </a:cubicBezTo>
                <a:cubicBezTo>
                  <a:pt x="389769" y="302691"/>
                  <a:pt x="394607" y="301380"/>
                  <a:pt x="393278" y="300523"/>
                </a:cubicBezTo>
                <a:cubicBezTo>
                  <a:pt x="391948" y="299658"/>
                  <a:pt x="390156" y="302160"/>
                  <a:pt x="389092" y="302631"/>
                </a:cubicBezTo>
                <a:cubicBezTo>
                  <a:pt x="386681" y="303694"/>
                  <a:pt x="385507" y="301063"/>
                  <a:pt x="385583" y="299066"/>
                </a:cubicBezTo>
                <a:cubicBezTo>
                  <a:pt x="385626" y="298098"/>
                  <a:pt x="386939" y="294670"/>
                  <a:pt x="385789" y="294002"/>
                </a:cubicBezTo>
                <a:cubicBezTo>
                  <a:pt x="384194" y="293085"/>
                  <a:pt x="383928" y="297164"/>
                  <a:pt x="383680" y="297961"/>
                </a:cubicBezTo>
                <a:cubicBezTo>
                  <a:pt x="383294" y="299169"/>
                  <a:pt x="382265" y="300694"/>
                  <a:pt x="384031" y="303985"/>
                </a:cubicBezTo>
                <a:cubicBezTo>
                  <a:pt x="384983" y="305759"/>
                  <a:pt x="384495" y="311765"/>
                  <a:pt x="382642" y="312425"/>
                </a:cubicBezTo>
                <a:cubicBezTo>
                  <a:pt x="380669" y="313136"/>
                  <a:pt x="379803" y="309375"/>
                  <a:pt x="378877" y="307824"/>
                </a:cubicBezTo>
                <a:cubicBezTo>
                  <a:pt x="378722" y="307558"/>
                  <a:pt x="378559" y="307361"/>
                  <a:pt x="378388" y="307267"/>
                </a:cubicBezTo>
                <a:lnTo>
                  <a:pt x="378336" y="307241"/>
                </a:lnTo>
                <a:cubicBezTo>
                  <a:pt x="378259" y="307207"/>
                  <a:pt x="378182" y="307190"/>
                  <a:pt x="378096" y="307198"/>
                </a:cubicBezTo>
                <a:lnTo>
                  <a:pt x="378087" y="307198"/>
                </a:lnTo>
                <a:cubicBezTo>
                  <a:pt x="378001" y="307207"/>
                  <a:pt x="377915" y="307259"/>
                  <a:pt x="377830" y="307327"/>
                </a:cubicBezTo>
                <a:lnTo>
                  <a:pt x="377761" y="307387"/>
                </a:lnTo>
                <a:cubicBezTo>
                  <a:pt x="377667" y="307472"/>
                  <a:pt x="377581" y="307575"/>
                  <a:pt x="377478" y="307729"/>
                </a:cubicBezTo>
                <a:cubicBezTo>
                  <a:pt x="377324" y="307970"/>
                  <a:pt x="377075" y="308389"/>
                  <a:pt x="376870" y="308749"/>
                </a:cubicBezTo>
                <a:cubicBezTo>
                  <a:pt x="376724" y="309006"/>
                  <a:pt x="376432" y="309615"/>
                  <a:pt x="376063" y="310669"/>
                </a:cubicBezTo>
                <a:cubicBezTo>
                  <a:pt x="375831" y="311337"/>
                  <a:pt x="375411" y="311740"/>
                  <a:pt x="374665" y="311903"/>
                </a:cubicBezTo>
                <a:cubicBezTo>
                  <a:pt x="372649" y="312126"/>
                  <a:pt x="370616" y="312262"/>
                  <a:pt x="368541" y="312262"/>
                </a:cubicBezTo>
                <a:cubicBezTo>
                  <a:pt x="367743" y="312262"/>
                  <a:pt x="366945" y="312245"/>
                  <a:pt x="366156" y="312211"/>
                </a:cubicBezTo>
                <a:cubicBezTo>
                  <a:pt x="366491" y="313445"/>
                  <a:pt x="366843" y="314782"/>
                  <a:pt x="367297" y="315648"/>
                </a:cubicBezTo>
                <a:cubicBezTo>
                  <a:pt x="368387" y="317704"/>
                  <a:pt x="370470" y="319366"/>
                  <a:pt x="370119" y="320883"/>
                </a:cubicBezTo>
                <a:cubicBezTo>
                  <a:pt x="369767" y="322408"/>
                  <a:pt x="363403" y="323788"/>
                  <a:pt x="362879" y="322674"/>
                </a:cubicBezTo>
                <a:cubicBezTo>
                  <a:pt x="362228" y="321286"/>
                  <a:pt x="364483" y="318501"/>
                  <a:pt x="364303" y="317241"/>
                </a:cubicBezTo>
                <a:cubicBezTo>
                  <a:pt x="363978" y="314945"/>
                  <a:pt x="362819" y="313574"/>
                  <a:pt x="362965" y="311980"/>
                </a:cubicBezTo>
                <a:cubicBezTo>
                  <a:pt x="351738" y="310857"/>
                  <a:pt x="341479" y="306410"/>
                  <a:pt x="333211" y="299615"/>
                </a:cubicBezTo>
                <a:lnTo>
                  <a:pt x="305369" y="327430"/>
                </a:lnTo>
                <a:cubicBezTo>
                  <a:pt x="319101" y="339649"/>
                  <a:pt x="336376" y="347970"/>
                  <a:pt x="355452" y="350609"/>
                </a:cubicBezTo>
                <a:cubicBezTo>
                  <a:pt x="358145" y="348964"/>
                  <a:pt x="359251" y="346024"/>
                  <a:pt x="361379" y="347618"/>
                </a:cubicBezTo>
                <a:cubicBezTo>
                  <a:pt x="364767" y="350172"/>
                  <a:pt x="368850" y="346762"/>
                  <a:pt x="371552" y="346307"/>
                </a:cubicBezTo>
                <a:close/>
                <a:moveTo>
                  <a:pt x="374030" y="412589"/>
                </a:moveTo>
                <a:lnTo>
                  <a:pt x="374030" y="451869"/>
                </a:lnTo>
                <a:cubicBezTo>
                  <a:pt x="389949" y="451423"/>
                  <a:pt x="405406" y="449067"/>
                  <a:pt x="420176" y="445022"/>
                </a:cubicBezTo>
                <a:cubicBezTo>
                  <a:pt x="417105" y="442417"/>
                  <a:pt x="415707" y="438193"/>
                  <a:pt x="411908" y="436890"/>
                </a:cubicBezTo>
                <a:cubicBezTo>
                  <a:pt x="405371" y="434645"/>
                  <a:pt x="403613" y="430626"/>
                  <a:pt x="407147" y="424799"/>
                </a:cubicBezTo>
                <a:cubicBezTo>
                  <a:pt x="409060" y="421654"/>
                  <a:pt x="408305" y="420412"/>
                  <a:pt x="406066" y="417061"/>
                </a:cubicBezTo>
                <a:cubicBezTo>
                  <a:pt x="403339" y="412983"/>
                  <a:pt x="399813" y="411115"/>
                  <a:pt x="397257" y="410009"/>
                </a:cubicBezTo>
                <a:cubicBezTo>
                  <a:pt x="389683" y="411423"/>
                  <a:pt x="381939" y="412314"/>
                  <a:pt x="374030" y="412589"/>
                </a:cubicBezTo>
                <a:close/>
                <a:moveTo>
                  <a:pt x="392901" y="399667"/>
                </a:moveTo>
                <a:cubicBezTo>
                  <a:pt x="391614" y="398278"/>
                  <a:pt x="389006" y="398176"/>
                  <a:pt x="387162" y="398672"/>
                </a:cubicBezTo>
                <a:cubicBezTo>
                  <a:pt x="380772" y="400404"/>
                  <a:pt x="382908" y="395330"/>
                  <a:pt x="374030" y="396624"/>
                </a:cubicBezTo>
                <a:lnTo>
                  <a:pt x="374030" y="401620"/>
                </a:lnTo>
                <a:cubicBezTo>
                  <a:pt x="380437" y="401380"/>
                  <a:pt x="386733" y="400703"/>
                  <a:pt x="392901" y="399667"/>
                </a:cubicBezTo>
                <a:close/>
                <a:moveTo>
                  <a:pt x="538481" y="434105"/>
                </a:moveTo>
                <a:lnTo>
                  <a:pt x="510579" y="406230"/>
                </a:lnTo>
                <a:cubicBezTo>
                  <a:pt x="496197" y="419863"/>
                  <a:pt x="479848" y="431449"/>
                  <a:pt x="462016" y="440532"/>
                </a:cubicBezTo>
                <a:cubicBezTo>
                  <a:pt x="456140" y="444962"/>
                  <a:pt x="448961" y="448184"/>
                  <a:pt x="443532" y="450643"/>
                </a:cubicBezTo>
                <a:cubicBezTo>
                  <a:pt x="441259" y="451672"/>
                  <a:pt x="438797" y="453017"/>
                  <a:pt x="436215" y="453017"/>
                </a:cubicBezTo>
                <a:cubicBezTo>
                  <a:pt x="435383" y="453017"/>
                  <a:pt x="434663" y="452743"/>
                  <a:pt x="433943" y="452298"/>
                </a:cubicBezTo>
                <a:cubicBezTo>
                  <a:pt x="415029" y="458621"/>
                  <a:pt x="394915" y="462289"/>
                  <a:pt x="374030" y="462837"/>
                </a:cubicBezTo>
                <a:lnTo>
                  <a:pt x="374030" y="502101"/>
                </a:lnTo>
                <a:cubicBezTo>
                  <a:pt x="435864" y="500754"/>
                  <a:pt x="493874" y="476770"/>
                  <a:pt x="538481" y="434105"/>
                </a:cubicBezTo>
                <a:close/>
                <a:moveTo>
                  <a:pt x="483477" y="150112"/>
                </a:moveTo>
                <a:cubicBezTo>
                  <a:pt x="483425" y="150343"/>
                  <a:pt x="483305" y="150471"/>
                  <a:pt x="483159" y="150566"/>
                </a:cubicBezTo>
                <a:cubicBezTo>
                  <a:pt x="489636" y="157550"/>
                  <a:pt x="495460" y="165133"/>
                  <a:pt x="500590" y="173205"/>
                </a:cubicBezTo>
                <a:cubicBezTo>
                  <a:pt x="501186" y="172443"/>
                  <a:pt x="501662" y="171765"/>
                  <a:pt x="502491" y="172717"/>
                </a:cubicBezTo>
                <a:cubicBezTo>
                  <a:pt x="503882" y="174301"/>
                  <a:pt x="501041" y="177181"/>
                  <a:pt x="505158" y="176427"/>
                </a:cubicBezTo>
                <a:cubicBezTo>
                  <a:pt x="507640" y="175973"/>
                  <a:pt x="507131" y="179143"/>
                  <a:pt x="505124" y="180840"/>
                </a:cubicBezTo>
                <a:cubicBezTo>
                  <a:pt x="506394" y="183128"/>
                  <a:pt x="507621" y="185442"/>
                  <a:pt x="508780" y="187789"/>
                </a:cubicBezTo>
                <a:cubicBezTo>
                  <a:pt x="510230" y="188441"/>
                  <a:pt x="511326" y="189229"/>
                  <a:pt x="511549" y="190172"/>
                </a:cubicBezTo>
                <a:cubicBezTo>
                  <a:pt x="512203" y="192931"/>
                  <a:pt x="513469" y="195990"/>
                  <a:pt x="513779" y="199041"/>
                </a:cubicBezTo>
                <a:cubicBezTo>
                  <a:pt x="515743" y="203984"/>
                  <a:pt x="517474" y="209049"/>
                  <a:pt x="518944" y="214225"/>
                </a:cubicBezTo>
                <a:cubicBezTo>
                  <a:pt x="520966" y="212494"/>
                  <a:pt x="523250" y="213436"/>
                  <a:pt x="523487" y="216324"/>
                </a:cubicBezTo>
                <a:cubicBezTo>
                  <a:pt x="523730" y="219212"/>
                  <a:pt x="522813" y="222339"/>
                  <a:pt x="521552" y="224928"/>
                </a:cubicBezTo>
                <a:cubicBezTo>
                  <a:pt x="523308" y="233419"/>
                  <a:pt x="524409" y="242151"/>
                  <a:pt x="524714" y="251080"/>
                </a:cubicBezTo>
                <a:lnTo>
                  <a:pt x="564026" y="251080"/>
                </a:lnTo>
                <a:cubicBezTo>
                  <a:pt x="563313" y="225656"/>
                  <a:pt x="557610" y="200506"/>
                  <a:pt x="547393" y="177396"/>
                </a:cubicBezTo>
                <a:cubicBezTo>
                  <a:pt x="546613" y="178021"/>
                  <a:pt x="545565" y="178072"/>
                  <a:pt x="544246" y="179744"/>
                </a:cubicBezTo>
                <a:cubicBezTo>
                  <a:pt x="542258" y="182254"/>
                  <a:pt x="539038" y="179118"/>
                  <a:pt x="537273" y="176924"/>
                </a:cubicBezTo>
                <a:cubicBezTo>
                  <a:pt x="533981" y="172862"/>
                  <a:pt x="526227" y="161440"/>
                  <a:pt x="522736" y="160866"/>
                </a:cubicBezTo>
                <a:cubicBezTo>
                  <a:pt x="519816" y="160386"/>
                  <a:pt x="517639" y="156599"/>
                  <a:pt x="514570" y="155973"/>
                </a:cubicBezTo>
                <a:cubicBezTo>
                  <a:pt x="511505" y="155347"/>
                  <a:pt x="507679" y="153625"/>
                  <a:pt x="507185" y="150386"/>
                </a:cubicBezTo>
                <a:cubicBezTo>
                  <a:pt x="506661" y="147070"/>
                  <a:pt x="505454" y="145707"/>
                  <a:pt x="502045" y="145176"/>
                </a:cubicBezTo>
                <a:cubicBezTo>
                  <a:pt x="498194" y="144585"/>
                  <a:pt x="495508" y="143059"/>
                  <a:pt x="492797" y="140180"/>
                </a:cubicBezTo>
                <a:lnTo>
                  <a:pt x="483391" y="149581"/>
                </a:lnTo>
                <a:cubicBezTo>
                  <a:pt x="483468" y="149786"/>
                  <a:pt x="483511" y="149966"/>
                  <a:pt x="483477" y="150112"/>
                </a:cubicBezTo>
                <a:close/>
                <a:moveTo>
                  <a:pt x="508426" y="388570"/>
                </a:moveTo>
                <a:lnTo>
                  <a:pt x="510579" y="390720"/>
                </a:lnTo>
                <a:cubicBezTo>
                  <a:pt x="542573" y="356941"/>
                  <a:pt x="562653" y="311791"/>
                  <a:pt x="564026" y="262048"/>
                </a:cubicBezTo>
                <a:lnTo>
                  <a:pt x="524714" y="262048"/>
                </a:lnTo>
                <a:cubicBezTo>
                  <a:pt x="523361" y="300969"/>
                  <a:pt x="507689" y="336307"/>
                  <a:pt x="482799" y="362966"/>
                </a:cubicBezTo>
                <a:lnTo>
                  <a:pt x="496987" y="377138"/>
                </a:lnTo>
                <a:cubicBezTo>
                  <a:pt x="497089" y="376941"/>
                  <a:pt x="497181" y="376745"/>
                  <a:pt x="497278" y="376547"/>
                </a:cubicBezTo>
                <a:cubicBezTo>
                  <a:pt x="498451" y="374062"/>
                  <a:pt x="497947" y="370814"/>
                  <a:pt x="498141" y="368535"/>
                </a:cubicBezTo>
                <a:cubicBezTo>
                  <a:pt x="498262" y="367045"/>
                  <a:pt x="503674" y="367404"/>
                  <a:pt x="504062" y="369863"/>
                </a:cubicBezTo>
                <a:cubicBezTo>
                  <a:pt x="504387" y="371937"/>
                  <a:pt x="505458" y="373462"/>
                  <a:pt x="507340" y="378613"/>
                </a:cubicBezTo>
                <a:cubicBezTo>
                  <a:pt x="508693" y="382323"/>
                  <a:pt x="509338" y="385733"/>
                  <a:pt x="508426" y="388570"/>
                </a:cubicBezTo>
                <a:close/>
                <a:moveTo>
                  <a:pt x="478578" y="413077"/>
                </a:moveTo>
                <a:cubicBezTo>
                  <a:pt x="477541" y="415571"/>
                  <a:pt x="472283" y="420061"/>
                  <a:pt x="473193" y="421535"/>
                </a:cubicBezTo>
                <a:cubicBezTo>
                  <a:pt x="483802" y="414791"/>
                  <a:pt x="493724" y="407070"/>
                  <a:pt x="502825" y="398475"/>
                </a:cubicBezTo>
                <a:lnTo>
                  <a:pt x="475036" y="370720"/>
                </a:lnTo>
                <a:cubicBezTo>
                  <a:pt x="473098" y="372528"/>
                  <a:pt x="471099" y="374268"/>
                  <a:pt x="469067" y="375982"/>
                </a:cubicBezTo>
                <a:cubicBezTo>
                  <a:pt x="468586" y="379161"/>
                  <a:pt x="469023" y="381654"/>
                  <a:pt x="472935" y="382863"/>
                </a:cubicBezTo>
                <a:cubicBezTo>
                  <a:pt x="477155" y="384165"/>
                  <a:pt x="484197" y="388450"/>
                  <a:pt x="482713" y="392606"/>
                </a:cubicBezTo>
                <a:cubicBezTo>
                  <a:pt x="481049" y="396325"/>
                  <a:pt x="476932" y="401894"/>
                  <a:pt x="474942" y="405587"/>
                </a:cubicBezTo>
                <a:cubicBezTo>
                  <a:pt x="473252" y="408741"/>
                  <a:pt x="479831" y="410086"/>
                  <a:pt x="478578" y="413077"/>
                </a:cubicBezTo>
                <a:close/>
                <a:moveTo>
                  <a:pt x="485063" y="250583"/>
                </a:moveTo>
                <a:cubicBezTo>
                  <a:pt x="485005" y="250746"/>
                  <a:pt x="484901" y="250917"/>
                  <a:pt x="484780" y="251080"/>
                </a:cubicBezTo>
                <a:lnTo>
                  <a:pt x="513726" y="251080"/>
                </a:lnTo>
                <a:cubicBezTo>
                  <a:pt x="513576" y="246907"/>
                  <a:pt x="513222" y="242776"/>
                  <a:pt x="512727" y="238689"/>
                </a:cubicBezTo>
                <a:cubicBezTo>
                  <a:pt x="512494" y="239118"/>
                  <a:pt x="512242" y="239546"/>
                  <a:pt x="512048" y="239966"/>
                </a:cubicBezTo>
                <a:cubicBezTo>
                  <a:pt x="509886" y="244456"/>
                  <a:pt x="509561" y="241748"/>
                  <a:pt x="509716" y="239795"/>
                </a:cubicBezTo>
                <a:cubicBezTo>
                  <a:pt x="509920" y="237301"/>
                  <a:pt x="510870" y="234970"/>
                  <a:pt x="511801" y="232417"/>
                </a:cubicBezTo>
                <a:cubicBezTo>
                  <a:pt x="511578" y="231080"/>
                  <a:pt x="511335" y="229760"/>
                  <a:pt x="511069" y="228441"/>
                </a:cubicBezTo>
                <a:cubicBezTo>
                  <a:pt x="510201" y="229675"/>
                  <a:pt x="508950" y="230549"/>
                  <a:pt x="506986" y="231526"/>
                </a:cubicBezTo>
                <a:cubicBezTo>
                  <a:pt x="505711" y="232177"/>
                  <a:pt x="504498" y="235185"/>
                  <a:pt x="504028" y="236333"/>
                </a:cubicBezTo>
                <a:cubicBezTo>
                  <a:pt x="503470" y="237721"/>
                  <a:pt x="500289" y="236007"/>
                  <a:pt x="497671" y="237267"/>
                </a:cubicBezTo>
                <a:cubicBezTo>
                  <a:pt x="493084" y="239478"/>
                  <a:pt x="488380" y="239812"/>
                  <a:pt x="491735" y="244559"/>
                </a:cubicBezTo>
                <a:cubicBezTo>
                  <a:pt x="493879" y="247583"/>
                  <a:pt x="486600" y="246736"/>
                  <a:pt x="485063" y="250583"/>
                </a:cubicBezTo>
                <a:close/>
                <a:moveTo>
                  <a:pt x="475036" y="157926"/>
                </a:moveTo>
                <a:lnTo>
                  <a:pt x="447246" y="185690"/>
                </a:lnTo>
                <a:cubicBezTo>
                  <a:pt x="452023" y="190986"/>
                  <a:pt x="456269" y="196770"/>
                  <a:pt x="459914" y="202948"/>
                </a:cubicBezTo>
                <a:cubicBezTo>
                  <a:pt x="463183" y="203454"/>
                  <a:pt x="467643" y="204765"/>
                  <a:pt x="470516" y="208458"/>
                </a:cubicBezTo>
                <a:cubicBezTo>
                  <a:pt x="472549" y="211080"/>
                  <a:pt x="478416" y="216324"/>
                  <a:pt x="477515" y="218672"/>
                </a:cubicBezTo>
                <a:cubicBezTo>
                  <a:pt x="476966" y="220111"/>
                  <a:pt x="478192" y="221894"/>
                  <a:pt x="479531" y="222836"/>
                </a:cubicBezTo>
                <a:cubicBezTo>
                  <a:pt x="481581" y="224268"/>
                  <a:pt x="483030" y="224234"/>
                  <a:pt x="484154" y="222803"/>
                </a:cubicBezTo>
                <a:cubicBezTo>
                  <a:pt x="486203" y="220189"/>
                  <a:pt x="486494" y="216658"/>
                  <a:pt x="489214" y="214430"/>
                </a:cubicBezTo>
                <a:cubicBezTo>
                  <a:pt x="492540" y="211689"/>
                  <a:pt x="499363" y="219606"/>
                  <a:pt x="499353" y="221054"/>
                </a:cubicBezTo>
                <a:cubicBezTo>
                  <a:pt x="499344" y="222502"/>
                  <a:pt x="497583" y="222845"/>
                  <a:pt x="497079" y="225416"/>
                </a:cubicBezTo>
                <a:cubicBezTo>
                  <a:pt x="496395" y="228929"/>
                  <a:pt x="493374" y="233120"/>
                  <a:pt x="496808" y="234293"/>
                </a:cubicBezTo>
                <a:cubicBezTo>
                  <a:pt x="501807" y="235999"/>
                  <a:pt x="502442" y="234037"/>
                  <a:pt x="504843" y="230523"/>
                </a:cubicBezTo>
                <a:cubicBezTo>
                  <a:pt x="505948" y="228904"/>
                  <a:pt x="505711" y="226290"/>
                  <a:pt x="506899" y="224687"/>
                </a:cubicBezTo>
                <a:cubicBezTo>
                  <a:pt x="507655" y="223676"/>
                  <a:pt x="508780" y="223248"/>
                  <a:pt x="509784" y="222579"/>
                </a:cubicBezTo>
                <a:cubicBezTo>
                  <a:pt x="507907" y="214790"/>
                  <a:pt x="505415" y="207233"/>
                  <a:pt x="502336" y="199992"/>
                </a:cubicBezTo>
                <a:cubicBezTo>
                  <a:pt x="501599" y="199272"/>
                  <a:pt x="500740" y="198681"/>
                  <a:pt x="499669" y="198329"/>
                </a:cubicBezTo>
                <a:cubicBezTo>
                  <a:pt x="497879" y="197738"/>
                  <a:pt x="498888" y="196136"/>
                  <a:pt x="496541" y="195399"/>
                </a:cubicBezTo>
                <a:cubicBezTo>
                  <a:pt x="493845" y="194551"/>
                  <a:pt x="492802" y="193779"/>
                  <a:pt x="492550" y="189057"/>
                </a:cubicBezTo>
                <a:cubicBezTo>
                  <a:pt x="492351" y="185253"/>
                  <a:pt x="495770" y="190309"/>
                  <a:pt x="496619" y="189649"/>
                </a:cubicBezTo>
                <a:cubicBezTo>
                  <a:pt x="496798" y="189503"/>
                  <a:pt x="496958" y="189280"/>
                  <a:pt x="497123" y="189024"/>
                </a:cubicBezTo>
                <a:cubicBezTo>
                  <a:pt x="491129" y="177687"/>
                  <a:pt x="483691" y="167241"/>
                  <a:pt x="475036" y="157926"/>
                </a:cubicBezTo>
                <a:close/>
                <a:moveTo>
                  <a:pt x="441319" y="195622"/>
                </a:moveTo>
                <a:cubicBezTo>
                  <a:pt x="439998" y="195604"/>
                  <a:pt x="438909" y="195347"/>
                  <a:pt x="437949" y="194979"/>
                </a:cubicBezTo>
                <a:lnTo>
                  <a:pt x="428762" y="204148"/>
                </a:lnTo>
                <a:cubicBezTo>
                  <a:pt x="430520" y="204619"/>
                  <a:pt x="432467" y="203968"/>
                  <a:pt x="434663" y="204945"/>
                </a:cubicBezTo>
                <a:cubicBezTo>
                  <a:pt x="437108" y="206016"/>
                  <a:pt x="435915" y="198124"/>
                  <a:pt x="439654" y="198844"/>
                </a:cubicBezTo>
                <a:cubicBezTo>
                  <a:pt x="443472" y="199572"/>
                  <a:pt x="444449" y="202023"/>
                  <a:pt x="441293" y="203214"/>
                </a:cubicBezTo>
                <a:cubicBezTo>
                  <a:pt x="438763" y="204036"/>
                  <a:pt x="441919" y="206144"/>
                  <a:pt x="438857" y="207181"/>
                </a:cubicBezTo>
                <a:cubicBezTo>
                  <a:pt x="436069" y="208132"/>
                  <a:pt x="441122" y="210592"/>
                  <a:pt x="441079" y="211689"/>
                </a:cubicBezTo>
                <a:cubicBezTo>
                  <a:pt x="441027" y="213205"/>
                  <a:pt x="437271" y="213771"/>
                  <a:pt x="442914" y="215510"/>
                </a:cubicBezTo>
                <a:cubicBezTo>
                  <a:pt x="448550" y="217250"/>
                  <a:pt x="442931" y="210771"/>
                  <a:pt x="443789" y="209863"/>
                </a:cubicBezTo>
                <a:cubicBezTo>
                  <a:pt x="444836" y="208758"/>
                  <a:pt x="447846" y="211611"/>
                  <a:pt x="448678" y="210352"/>
                </a:cubicBezTo>
                <a:cubicBezTo>
                  <a:pt x="448987" y="209889"/>
                  <a:pt x="449545" y="209084"/>
                  <a:pt x="450231" y="208158"/>
                </a:cubicBezTo>
                <a:cubicBezTo>
                  <a:pt x="447597" y="203736"/>
                  <a:pt x="444613" y="199538"/>
                  <a:pt x="441319" y="195622"/>
                </a:cubicBezTo>
                <a:close/>
                <a:moveTo>
                  <a:pt x="426995" y="341397"/>
                </a:moveTo>
                <a:cubicBezTo>
                  <a:pt x="427063" y="343325"/>
                  <a:pt x="425116" y="341783"/>
                  <a:pt x="424524" y="342442"/>
                </a:cubicBezTo>
                <a:cubicBezTo>
                  <a:pt x="423933" y="343085"/>
                  <a:pt x="439981" y="350592"/>
                  <a:pt x="442503" y="351020"/>
                </a:cubicBezTo>
                <a:cubicBezTo>
                  <a:pt x="444227" y="351311"/>
                  <a:pt x="447512" y="352537"/>
                  <a:pt x="453319" y="351380"/>
                </a:cubicBezTo>
                <a:cubicBezTo>
                  <a:pt x="457212" y="350609"/>
                  <a:pt x="458293" y="352400"/>
                  <a:pt x="460112" y="352331"/>
                </a:cubicBezTo>
                <a:cubicBezTo>
                  <a:pt x="462702" y="352237"/>
                  <a:pt x="464383" y="348741"/>
                  <a:pt x="465884" y="346590"/>
                </a:cubicBezTo>
                <a:cubicBezTo>
                  <a:pt x="469864" y="340917"/>
                  <a:pt x="469109" y="340155"/>
                  <a:pt x="470164" y="339272"/>
                </a:cubicBezTo>
                <a:cubicBezTo>
                  <a:pt x="471511" y="338141"/>
                  <a:pt x="475422" y="346822"/>
                  <a:pt x="474925" y="352323"/>
                </a:cubicBezTo>
                <a:cubicBezTo>
                  <a:pt x="474839" y="353197"/>
                  <a:pt x="474736" y="354011"/>
                  <a:pt x="474616" y="354791"/>
                </a:cubicBezTo>
                <a:lnTo>
                  <a:pt x="475036" y="355211"/>
                </a:lnTo>
                <a:cubicBezTo>
                  <a:pt x="497947" y="330549"/>
                  <a:pt x="512388" y="297944"/>
                  <a:pt x="513726" y="262048"/>
                </a:cubicBezTo>
                <a:lnTo>
                  <a:pt x="483845" y="262048"/>
                </a:lnTo>
                <a:cubicBezTo>
                  <a:pt x="484875" y="263745"/>
                  <a:pt x="486658" y="265938"/>
                  <a:pt x="488535" y="269811"/>
                </a:cubicBezTo>
                <a:cubicBezTo>
                  <a:pt x="490048" y="272914"/>
                  <a:pt x="490940" y="277841"/>
                  <a:pt x="493476" y="278081"/>
                </a:cubicBezTo>
                <a:cubicBezTo>
                  <a:pt x="497569" y="278466"/>
                  <a:pt x="501778" y="281851"/>
                  <a:pt x="501899" y="284696"/>
                </a:cubicBezTo>
                <a:cubicBezTo>
                  <a:pt x="502142" y="290643"/>
                  <a:pt x="483674" y="292083"/>
                  <a:pt x="481246" y="291320"/>
                </a:cubicBezTo>
                <a:cubicBezTo>
                  <a:pt x="479205" y="290678"/>
                  <a:pt x="477850" y="290541"/>
                  <a:pt x="477713" y="293736"/>
                </a:cubicBezTo>
                <a:cubicBezTo>
                  <a:pt x="477558" y="297361"/>
                  <a:pt x="471039" y="297387"/>
                  <a:pt x="468474" y="299555"/>
                </a:cubicBezTo>
                <a:cubicBezTo>
                  <a:pt x="465593" y="301988"/>
                  <a:pt x="465276" y="306436"/>
                  <a:pt x="463346" y="309537"/>
                </a:cubicBezTo>
                <a:cubicBezTo>
                  <a:pt x="462188" y="311397"/>
                  <a:pt x="455369" y="317832"/>
                  <a:pt x="453507" y="319135"/>
                </a:cubicBezTo>
                <a:cubicBezTo>
                  <a:pt x="449064" y="322237"/>
                  <a:pt x="440701" y="322391"/>
                  <a:pt x="444527" y="324439"/>
                </a:cubicBezTo>
                <a:cubicBezTo>
                  <a:pt x="447254" y="325896"/>
                  <a:pt x="453448" y="326410"/>
                  <a:pt x="452666" y="324971"/>
                </a:cubicBezTo>
                <a:cubicBezTo>
                  <a:pt x="451775" y="323317"/>
                  <a:pt x="453138" y="323163"/>
                  <a:pt x="454185" y="324516"/>
                </a:cubicBezTo>
                <a:cubicBezTo>
                  <a:pt x="454991" y="325536"/>
                  <a:pt x="457899" y="323531"/>
                  <a:pt x="457839" y="321663"/>
                </a:cubicBezTo>
                <a:cubicBezTo>
                  <a:pt x="457779" y="319898"/>
                  <a:pt x="457393" y="317019"/>
                  <a:pt x="459031" y="316907"/>
                </a:cubicBezTo>
                <a:cubicBezTo>
                  <a:pt x="461690" y="316736"/>
                  <a:pt x="464486" y="313788"/>
                  <a:pt x="465807" y="314062"/>
                </a:cubicBezTo>
                <a:cubicBezTo>
                  <a:pt x="467308" y="314371"/>
                  <a:pt x="469341" y="317704"/>
                  <a:pt x="467814" y="327858"/>
                </a:cubicBezTo>
                <a:cubicBezTo>
                  <a:pt x="466304" y="338021"/>
                  <a:pt x="461450" y="345091"/>
                  <a:pt x="459511" y="348278"/>
                </a:cubicBezTo>
                <a:cubicBezTo>
                  <a:pt x="457419" y="351689"/>
                  <a:pt x="455326" y="349084"/>
                  <a:pt x="452521" y="347644"/>
                </a:cubicBezTo>
                <a:cubicBezTo>
                  <a:pt x="448953" y="345810"/>
                  <a:pt x="443575" y="345888"/>
                  <a:pt x="439818" y="344662"/>
                </a:cubicBezTo>
                <a:cubicBezTo>
                  <a:pt x="437828" y="344020"/>
                  <a:pt x="426935" y="339898"/>
                  <a:pt x="426995" y="341397"/>
                </a:cubicBezTo>
                <a:close/>
                <a:moveTo>
                  <a:pt x="614306" y="262048"/>
                </a:moveTo>
                <a:lnTo>
                  <a:pt x="575014" y="262048"/>
                </a:lnTo>
                <a:cubicBezTo>
                  <a:pt x="573622" y="314808"/>
                  <a:pt x="552315" y="362700"/>
                  <a:pt x="518342" y="398475"/>
                </a:cubicBezTo>
                <a:lnTo>
                  <a:pt x="546244" y="426350"/>
                </a:lnTo>
                <a:cubicBezTo>
                  <a:pt x="588960" y="381774"/>
                  <a:pt x="612967" y="323823"/>
                  <a:pt x="614306" y="262048"/>
                </a:cubicBezTo>
                <a:close/>
                <a:moveTo>
                  <a:pt x="546244" y="86787"/>
                </a:moveTo>
                <a:lnTo>
                  <a:pt x="517135" y="115870"/>
                </a:lnTo>
                <a:cubicBezTo>
                  <a:pt x="519802" y="120515"/>
                  <a:pt x="524811" y="126367"/>
                  <a:pt x="531876" y="133556"/>
                </a:cubicBezTo>
                <a:cubicBezTo>
                  <a:pt x="534776" y="136512"/>
                  <a:pt x="537855" y="139409"/>
                  <a:pt x="540440" y="142022"/>
                </a:cubicBezTo>
                <a:cubicBezTo>
                  <a:pt x="542918" y="144516"/>
                  <a:pt x="558793" y="164250"/>
                  <a:pt x="555724" y="167112"/>
                </a:cubicBezTo>
                <a:cubicBezTo>
                  <a:pt x="555501" y="167327"/>
                  <a:pt x="555258" y="167524"/>
                  <a:pt x="555021" y="167721"/>
                </a:cubicBezTo>
                <a:cubicBezTo>
                  <a:pt x="567371" y="193633"/>
                  <a:pt x="574233" y="222194"/>
                  <a:pt x="575004" y="251080"/>
                </a:cubicBezTo>
                <a:lnTo>
                  <a:pt x="614306" y="251080"/>
                </a:lnTo>
                <a:cubicBezTo>
                  <a:pt x="612967" y="189306"/>
                  <a:pt x="588960" y="131354"/>
                  <a:pt x="546244" y="86787"/>
                </a:cubicBezTo>
                <a:close/>
                <a:moveTo>
                  <a:pt x="374030" y="50292"/>
                </a:moveTo>
                <a:cubicBezTo>
                  <a:pt x="406872" y="51140"/>
                  <a:pt x="438402" y="59606"/>
                  <a:pt x="466605" y="74824"/>
                </a:cubicBezTo>
                <a:cubicBezTo>
                  <a:pt x="469238" y="74413"/>
                  <a:pt x="471837" y="74087"/>
                  <a:pt x="473578" y="73274"/>
                </a:cubicBezTo>
                <a:cubicBezTo>
                  <a:pt x="477078" y="71646"/>
                  <a:pt x="483956" y="75347"/>
                  <a:pt x="487274" y="77275"/>
                </a:cubicBezTo>
                <a:cubicBezTo>
                  <a:pt x="490305" y="79023"/>
                  <a:pt x="492652" y="81611"/>
                  <a:pt x="495983" y="83479"/>
                </a:cubicBezTo>
                <a:cubicBezTo>
                  <a:pt x="499387" y="85390"/>
                  <a:pt x="504857" y="90874"/>
                  <a:pt x="506060" y="96401"/>
                </a:cubicBezTo>
                <a:cubicBezTo>
                  <a:pt x="507272" y="101928"/>
                  <a:pt x="510778" y="101551"/>
                  <a:pt x="509027" y="103788"/>
                </a:cubicBezTo>
                <a:cubicBezTo>
                  <a:pt x="508154" y="104902"/>
                  <a:pt x="509493" y="105330"/>
                  <a:pt x="511166" y="106324"/>
                </a:cubicBezTo>
                <a:lnTo>
                  <a:pt x="538490" y="79032"/>
                </a:lnTo>
                <a:cubicBezTo>
                  <a:pt x="493874" y="36358"/>
                  <a:pt x="435864" y="12374"/>
                  <a:pt x="374030" y="11037"/>
                </a:cubicBezTo>
                <a:lnTo>
                  <a:pt x="374030" y="50292"/>
                </a:lnTo>
                <a:close/>
                <a:moveTo>
                  <a:pt x="374030" y="100540"/>
                </a:moveTo>
                <a:cubicBezTo>
                  <a:pt x="407387" y="101697"/>
                  <a:pt x="438094" y="113367"/>
                  <a:pt x="462994" y="132306"/>
                </a:cubicBezTo>
                <a:cubicBezTo>
                  <a:pt x="460181" y="128586"/>
                  <a:pt x="457332" y="124739"/>
                  <a:pt x="456011" y="123325"/>
                </a:cubicBezTo>
                <a:cubicBezTo>
                  <a:pt x="453601" y="120763"/>
                  <a:pt x="444578" y="117609"/>
                  <a:pt x="445488" y="116144"/>
                </a:cubicBezTo>
                <a:cubicBezTo>
                  <a:pt x="446388" y="114670"/>
                  <a:pt x="454416" y="121071"/>
                  <a:pt x="455823" y="119948"/>
                </a:cubicBezTo>
                <a:cubicBezTo>
                  <a:pt x="457513" y="118595"/>
                  <a:pt x="451792" y="111243"/>
                  <a:pt x="452221" y="110960"/>
                </a:cubicBezTo>
                <a:cubicBezTo>
                  <a:pt x="452812" y="110574"/>
                  <a:pt x="459589" y="117113"/>
                  <a:pt x="462916" y="122974"/>
                </a:cubicBezTo>
                <a:cubicBezTo>
                  <a:pt x="464306" y="125039"/>
                  <a:pt x="467994" y="123993"/>
                  <a:pt x="470868" y="125990"/>
                </a:cubicBezTo>
                <a:cubicBezTo>
                  <a:pt x="473398" y="127764"/>
                  <a:pt x="473569" y="130600"/>
                  <a:pt x="475697" y="132425"/>
                </a:cubicBezTo>
                <a:cubicBezTo>
                  <a:pt x="476040" y="132725"/>
                  <a:pt x="480543" y="135322"/>
                  <a:pt x="477927" y="135022"/>
                </a:cubicBezTo>
                <a:cubicBezTo>
                  <a:pt x="477172" y="134936"/>
                  <a:pt x="476014" y="133333"/>
                  <a:pt x="475148" y="134148"/>
                </a:cubicBezTo>
                <a:cubicBezTo>
                  <a:pt x="474607" y="134662"/>
                  <a:pt x="475474" y="137421"/>
                  <a:pt x="477026" y="140437"/>
                </a:cubicBezTo>
                <a:lnTo>
                  <a:pt x="490082" y="127387"/>
                </a:lnTo>
                <a:cubicBezTo>
                  <a:pt x="488186" y="123548"/>
                  <a:pt x="484446" y="118484"/>
                  <a:pt x="481838" y="117841"/>
                </a:cubicBezTo>
                <a:cubicBezTo>
                  <a:pt x="479145" y="117181"/>
                  <a:pt x="477489" y="119443"/>
                  <a:pt x="475637" y="120977"/>
                </a:cubicBezTo>
                <a:cubicBezTo>
                  <a:pt x="473784" y="122511"/>
                  <a:pt x="471468" y="123025"/>
                  <a:pt x="471177" y="121997"/>
                </a:cubicBezTo>
                <a:cubicBezTo>
                  <a:pt x="470851" y="120831"/>
                  <a:pt x="471554" y="117978"/>
                  <a:pt x="471417" y="116778"/>
                </a:cubicBezTo>
                <a:cubicBezTo>
                  <a:pt x="471228" y="115279"/>
                  <a:pt x="470053" y="114096"/>
                  <a:pt x="469658" y="112648"/>
                </a:cubicBezTo>
                <a:cubicBezTo>
                  <a:pt x="468723" y="109238"/>
                  <a:pt x="470113" y="105433"/>
                  <a:pt x="468037" y="103170"/>
                </a:cubicBezTo>
                <a:cubicBezTo>
                  <a:pt x="465756" y="100686"/>
                  <a:pt x="464229" y="96924"/>
                  <a:pt x="462445" y="94071"/>
                </a:cubicBezTo>
                <a:cubicBezTo>
                  <a:pt x="460497" y="90960"/>
                  <a:pt x="456989" y="86153"/>
                  <a:pt x="456783" y="82074"/>
                </a:cubicBezTo>
                <a:cubicBezTo>
                  <a:pt x="431352" y="69229"/>
                  <a:pt x="403244" y="62057"/>
                  <a:pt x="374030" y="61260"/>
                </a:cubicBezTo>
                <a:lnTo>
                  <a:pt x="374030" y="100540"/>
                </a:lnTo>
                <a:close/>
                <a:moveTo>
                  <a:pt x="374030" y="150797"/>
                </a:moveTo>
                <a:cubicBezTo>
                  <a:pt x="399127" y="152083"/>
                  <a:pt x="421951" y="162134"/>
                  <a:pt x="439483" y="177935"/>
                </a:cubicBezTo>
                <a:lnTo>
                  <a:pt x="467283" y="150172"/>
                </a:lnTo>
                <a:cubicBezTo>
                  <a:pt x="442588" y="127284"/>
                  <a:pt x="409960" y="112854"/>
                  <a:pt x="374030" y="111517"/>
                </a:cubicBezTo>
                <a:lnTo>
                  <a:pt x="374030" y="150797"/>
                </a:lnTo>
                <a:close/>
                <a:moveTo>
                  <a:pt x="374030" y="201140"/>
                </a:moveTo>
                <a:cubicBezTo>
                  <a:pt x="377770" y="201509"/>
                  <a:pt x="381449" y="202263"/>
                  <a:pt x="385034" y="203368"/>
                </a:cubicBezTo>
                <a:cubicBezTo>
                  <a:pt x="385969" y="201080"/>
                  <a:pt x="388311" y="199940"/>
                  <a:pt x="390232" y="198638"/>
                </a:cubicBezTo>
                <a:cubicBezTo>
                  <a:pt x="392505" y="197095"/>
                  <a:pt x="394152" y="195356"/>
                  <a:pt x="393826" y="199546"/>
                </a:cubicBezTo>
                <a:cubicBezTo>
                  <a:pt x="393526" y="202494"/>
                  <a:pt x="392299" y="204276"/>
                  <a:pt x="390773" y="205476"/>
                </a:cubicBezTo>
                <a:cubicBezTo>
                  <a:pt x="394624" y="207156"/>
                  <a:pt x="398286" y="209246"/>
                  <a:pt x="401692" y="211766"/>
                </a:cubicBezTo>
                <a:cubicBezTo>
                  <a:pt x="402438" y="212322"/>
                  <a:pt x="403167" y="212905"/>
                  <a:pt x="403888" y="213496"/>
                </a:cubicBezTo>
                <a:lnTo>
                  <a:pt x="407662" y="209726"/>
                </a:lnTo>
                <a:cubicBezTo>
                  <a:pt x="407627" y="209597"/>
                  <a:pt x="407593" y="209469"/>
                  <a:pt x="407593" y="209306"/>
                </a:cubicBezTo>
                <a:cubicBezTo>
                  <a:pt x="407662" y="207164"/>
                  <a:pt x="410767" y="204610"/>
                  <a:pt x="414352" y="203042"/>
                </a:cubicBezTo>
                <a:lnTo>
                  <a:pt x="426608" y="190798"/>
                </a:lnTo>
                <a:cubicBezTo>
                  <a:pt x="426334" y="190738"/>
                  <a:pt x="426034" y="190686"/>
                  <a:pt x="425682" y="190643"/>
                </a:cubicBezTo>
                <a:cubicBezTo>
                  <a:pt x="424036" y="190438"/>
                  <a:pt x="421694" y="193848"/>
                  <a:pt x="420090" y="192905"/>
                </a:cubicBezTo>
                <a:cubicBezTo>
                  <a:pt x="418280" y="191851"/>
                  <a:pt x="425502" y="185493"/>
                  <a:pt x="428728" y="186719"/>
                </a:cubicBezTo>
                <a:cubicBezTo>
                  <a:pt x="429165" y="186881"/>
                  <a:pt x="429645" y="187070"/>
                  <a:pt x="430142" y="187267"/>
                </a:cubicBezTo>
                <a:lnTo>
                  <a:pt x="431703" y="185707"/>
                </a:lnTo>
                <a:cubicBezTo>
                  <a:pt x="416179" y="171877"/>
                  <a:pt x="396108" y="163051"/>
                  <a:pt x="374030" y="161783"/>
                </a:cubicBezTo>
                <a:lnTo>
                  <a:pt x="374030" y="201140"/>
                </a:lnTo>
                <a:close/>
                <a:moveTo>
                  <a:pt x="368541" y="211834"/>
                </a:moveTo>
                <a:cubicBezTo>
                  <a:pt x="363934" y="211834"/>
                  <a:pt x="359466" y="212520"/>
                  <a:pt x="355177" y="213856"/>
                </a:cubicBezTo>
                <a:cubicBezTo>
                  <a:pt x="354611" y="214474"/>
                  <a:pt x="354182" y="214988"/>
                  <a:pt x="354508" y="215450"/>
                </a:cubicBezTo>
                <a:cubicBezTo>
                  <a:pt x="355589" y="217027"/>
                  <a:pt x="358883" y="213719"/>
                  <a:pt x="359320" y="216762"/>
                </a:cubicBezTo>
                <a:cubicBezTo>
                  <a:pt x="359646" y="218972"/>
                  <a:pt x="355675" y="217344"/>
                  <a:pt x="356035" y="218972"/>
                </a:cubicBezTo>
                <a:cubicBezTo>
                  <a:pt x="356326" y="220274"/>
                  <a:pt x="359080" y="219735"/>
                  <a:pt x="359148" y="221526"/>
                </a:cubicBezTo>
                <a:cubicBezTo>
                  <a:pt x="359208" y="223171"/>
                  <a:pt x="357484" y="226401"/>
                  <a:pt x="356155" y="227250"/>
                </a:cubicBezTo>
                <a:cubicBezTo>
                  <a:pt x="354388" y="228381"/>
                  <a:pt x="344970" y="229623"/>
                  <a:pt x="344069" y="231808"/>
                </a:cubicBezTo>
                <a:cubicBezTo>
                  <a:pt x="343280" y="233719"/>
                  <a:pt x="342457" y="235442"/>
                  <a:pt x="340981" y="237010"/>
                </a:cubicBezTo>
                <a:cubicBezTo>
                  <a:pt x="339378" y="238698"/>
                  <a:pt x="331821" y="243179"/>
                  <a:pt x="331804" y="244345"/>
                </a:cubicBezTo>
                <a:cubicBezTo>
                  <a:pt x="331761" y="247096"/>
                  <a:pt x="335432" y="243591"/>
                  <a:pt x="336452" y="242511"/>
                </a:cubicBezTo>
                <a:cubicBezTo>
                  <a:pt x="338074" y="240797"/>
                  <a:pt x="340304" y="240806"/>
                  <a:pt x="342732" y="239418"/>
                </a:cubicBezTo>
                <a:cubicBezTo>
                  <a:pt x="346076" y="237515"/>
                  <a:pt x="347363" y="244174"/>
                  <a:pt x="343778" y="244413"/>
                </a:cubicBezTo>
                <a:cubicBezTo>
                  <a:pt x="341539" y="244567"/>
                  <a:pt x="339652" y="250849"/>
                  <a:pt x="336144" y="249640"/>
                </a:cubicBezTo>
                <a:cubicBezTo>
                  <a:pt x="335261" y="249332"/>
                  <a:pt x="332765" y="247789"/>
                  <a:pt x="332224" y="249384"/>
                </a:cubicBezTo>
                <a:cubicBezTo>
                  <a:pt x="331649" y="251080"/>
                  <a:pt x="337439" y="251346"/>
                  <a:pt x="339258" y="252546"/>
                </a:cubicBezTo>
                <a:cubicBezTo>
                  <a:pt x="343880" y="255596"/>
                  <a:pt x="335749" y="255382"/>
                  <a:pt x="334445" y="256213"/>
                </a:cubicBezTo>
                <a:cubicBezTo>
                  <a:pt x="333159" y="257035"/>
                  <a:pt x="333794" y="258809"/>
                  <a:pt x="335552" y="258090"/>
                </a:cubicBezTo>
                <a:cubicBezTo>
                  <a:pt x="337251" y="257387"/>
                  <a:pt x="339558" y="255613"/>
                  <a:pt x="340612" y="258493"/>
                </a:cubicBezTo>
                <a:cubicBezTo>
                  <a:pt x="342037" y="262391"/>
                  <a:pt x="334188" y="276615"/>
                  <a:pt x="331907" y="275116"/>
                </a:cubicBezTo>
                <a:cubicBezTo>
                  <a:pt x="330663" y="274302"/>
                  <a:pt x="329377" y="275459"/>
                  <a:pt x="328210" y="275956"/>
                </a:cubicBezTo>
                <a:cubicBezTo>
                  <a:pt x="329771" y="279186"/>
                  <a:pt x="331735" y="282185"/>
                  <a:pt x="333991" y="284936"/>
                </a:cubicBezTo>
                <a:cubicBezTo>
                  <a:pt x="335535" y="282391"/>
                  <a:pt x="337971" y="278792"/>
                  <a:pt x="339000" y="278767"/>
                </a:cubicBezTo>
                <a:cubicBezTo>
                  <a:pt x="340458" y="278724"/>
                  <a:pt x="339969" y="277576"/>
                  <a:pt x="340518" y="276547"/>
                </a:cubicBezTo>
                <a:cubicBezTo>
                  <a:pt x="341196" y="275305"/>
                  <a:pt x="342928" y="276607"/>
                  <a:pt x="343049" y="274911"/>
                </a:cubicBezTo>
                <a:cubicBezTo>
                  <a:pt x="343168" y="273222"/>
                  <a:pt x="347492" y="270797"/>
                  <a:pt x="347989" y="268313"/>
                </a:cubicBezTo>
                <a:cubicBezTo>
                  <a:pt x="348246" y="266976"/>
                  <a:pt x="346651" y="265647"/>
                  <a:pt x="347311" y="264542"/>
                </a:cubicBezTo>
                <a:cubicBezTo>
                  <a:pt x="348118" y="263196"/>
                  <a:pt x="348701" y="262991"/>
                  <a:pt x="349568" y="262700"/>
                </a:cubicBezTo>
                <a:cubicBezTo>
                  <a:pt x="350433" y="262400"/>
                  <a:pt x="352484" y="264439"/>
                  <a:pt x="353110" y="263557"/>
                </a:cubicBezTo>
                <a:cubicBezTo>
                  <a:pt x="353736" y="262674"/>
                  <a:pt x="356789" y="263351"/>
                  <a:pt x="359122" y="264825"/>
                </a:cubicBezTo>
                <a:cubicBezTo>
                  <a:pt x="360186" y="265501"/>
                  <a:pt x="362253" y="264722"/>
                  <a:pt x="363523" y="266521"/>
                </a:cubicBezTo>
                <a:cubicBezTo>
                  <a:pt x="365281" y="268998"/>
                  <a:pt x="363437" y="269212"/>
                  <a:pt x="363754" y="269761"/>
                </a:cubicBezTo>
                <a:cubicBezTo>
                  <a:pt x="364063" y="270309"/>
                  <a:pt x="364826" y="269452"/>
                  <a:pt x="365289" y="269906"/>
                </a:cubicBezTo>
                <a:cubicBezTo>
                  <a:pt x="366276" y="270866"/>
                  <a:pt x="360709" y="274123"/>
                  <a:pt x="361344" y="275896"/>
                </a:cubicBezTo>
                <a:cubicBezTo>
                  <a:pt x="361970" y="277661"/>
                  <a:pt x="356627" y="286402"/>
                  <a:pt x="355160" y="287790"/>
                </a:cubicBezTo>
                <a:cubicBezTo>
                  <a:pt x="353144" y="289624"/>
                  <a:pt x="349816" y="287576"/>
                  <a:pt x="348504" y="287953"/>
                </a:cubicBezTo>
                <a:cubicBezTo>
                  <a:pt x="347088" y="288355"/>
                  <a:pt x="346814" y="289563"/>
                  <a:pt x="344635" y="289033"/>
                </a:cubicBezTo>
                <a:cubicBezTo>
                  <a:pt x="342954" y="288629"/>
                  <a:pt x="340939" y="289307"/>
                  <a:pt x="339077" y="290189"/>
                </a:cubicBezTo>
                <a:cubicBezTo>
                  <a:pt x="346952" y="297096"/>
                  <a:pt x="357261" y="301303"/>
                  <a:pt x="368540" y="301303"/>
                </a:cubicBezTo>
                <a:cubicBezTo>
                  <a:pt x="370968" y="301303"/>
                  <a:pt x="373343" y="301081"/>
                  <a:pt x="375660" y="300703"/>
                </a:cubicBezTo>
                <a:cubicBezTo>
                  <a:pt x="377109" y="298843"/>
                  <a:pt x="377709" y="296556"/>
                  <a:pt x="378018" y="294217"/>
                </a:cubicBezTo>
                <a:cubicBezTo>
                  <a:pt x="378199" y="292948"/>
                  <a:pt x="377976" y="291303"/>
                  <a:pt x="378645" y="290172"/>
                </a:cubicBezTo>
                <a:cubicBezTo>
                  <a:pt x="379219" y="289212"/>
                  <a:pt x="382873" y="284722"/>
                  <a:pt x="384331" y="284782"/>
                </a:cubicBezTo>
                <a:cubicBezTo>
                  <a:pt x="385609" y="284833"/>
                  <a:pt x="386484" y="285956"/>
                  <a:pt x="388328" y="285382"/>
                </a:cubicBezTo>
                <a:cubicBezTo>
                  <a:pt x="391905" y="284259"/>
                  <a:pt x="394118" y="285210"/>
                  <a:pt x="394152" y="286753"/>
                </a:cubicBezTo>
                <a:cubicBezTo>
                  <a:pt x="394204" y="288904"/>
                  <a:pt x="389649" y="288287"/>
                  <a:pt x="389838" y="289495"/>
                </a:cubicBezTo>
                <a:cubicBezTo>
                  <a:pt x="389958" y="290343"/>
                  <a:pt x="393260" y="291620"/>
                  <a:pt x="394341" y="290386"/>
                </a:cubicBezTo>
                <a:cubicBezTo>
                  <a:pt x="396365" y="288107"/>
                  <a:pt x="396065" y="285116"/>
                  <a:pt x="395542" y="284465"/>
                </a:cubicBezTo>
                <a:cubicBezTo>
                  <a:pt x="394109" y="282657"/>
                  <a:pt x="394195" y="281911"/>
                  <a:pt x="396254" y="282614"/>
                </a:cubicBezTo>
                <a:cubicBezTo>
                  <a:pt x="397523" y="283051"/>
                  <a:pt x="397514" y="278047"/>
                  <a:pt x="398724" y="276128"/>
                </a:cubicBezTo>
                <a:cubicBezTo>
                  <a:pt x="400371" y="273548"/>
                  <a:pt x="395679" y="275356"/>
                  <a:pt x="393723" y="275630"/>
                </a:cubicBezTo>
                <a:cubicBezTo>
                  <a:pt x="391879" y="275887"/>
                  <a:pt x="390352" y="271954"/>
                  <a:pt x="390310" y="270574"/>
                </a:cubicBezTo>
                <a:cubicBezTo>
                  <a:pt x="390275" y="269580"/>
                  <a:pt x="393809" y="274088"/>
                  <a:pt x="395593" y="274182"/>
                </a:cubicBezTo>
                <a:cubicBezTo>
                  <a:pt x="397609" y="274285"/>
                  <a:pt x="399993" y="271946"/>
                  <a:pt x="400019" y="270232"/>
                </a:cubicBezTo>
                <a:cubicBezTo>
                  <a:pt x="400062" y="268518"/>
                  <a:pt x="396176" y="268287"/>
                  <a:pt x="395585" y="266204"/>
                </a:cubicBezTo>
                <a:cubicBezTo>
                  <a:pt x="395259" y="265064"/>
                  <a:pt x="398741" y="266196"/>
                  <a:pt x="398475" y="265073"/>
                </a:cubicBezTo>
                <a:cubicBezTo>
                  <a:pt x="398252" y="264088"/>
                  <a:pt x="398827" y="261714"/>
                  <a:pt x="396631" y="260772"/>
                </a:cubicBezTo>
                <a:cubicBezTo>
                  <a:pt x="394444" y="259838"/>
                  <a:pt x="392437" y="252837"/>
                  <a:pt x="390686" y="252357"/>
                </a:cubicBezTo>
                <a:cubicBezTo>
                  <a:pt x="389134" y="251937"/>
                  <a:pt x="387839" y="254036"/>
                  <a:pt x="386887" y="254807"/>
                </a:cubicBezTo>
                <a:cubicBezTo>
                  <a:pt x="385944" y="255570"/>
                  <a:pt x="384434" y="254251"/>
                  <a:pt x="385223" y="253522"/>
                </a:cubicBezTo>
                <a:cubicBezTo>
                  <a:pt x="386347" y="252477"/>
                  <a:pt x="388954" y="250232"/>
                  <a:pt x="389495" y="248467"/>
                </a:cubicBezTo>
                <a:cubicBezTo>
                  <a:pt x="390404" y="245501"/>
                  <a:pt x="394220" y="248621"/>
                  <a:pt x="393543" y="244482"/>
                </a:cubicBezTo>
                <a:cubicBezTo>
                  <a:pt x="392814" y="240000"/>
                  <a:pt x="388988" y="240866"/>
                  <a:pt x="390764" y="238707"/>
                </a:cubicBezTo>
                <a:cubicBezTo>
                  <a:pt x="392582" y="236513"/>
                  <a:pt x="391227" y="232940"/>
                  <a:pt x="387531" y="233651"/>
                </a:cubicBezTo>
                <a:cubicBezTo>
                  <a:pt x="385824" y="233977"/>
                  <a:pt x="384031" y="231200"/>
                  <a:pt x="383851" y="228801"/>
                </a:cubicBezTo>
                <a:cubicBezTo>
                  <a:pt x="383739" y="227481"/>
                  <a:pt x="379948" y="227687"/>
                  <a:pt x="380094" y="226290"/>
                </a:cubicBezTo>
                <a:cubicBezTo>
                  <a:pt x="380394" y="223436"/>
                  <a:pt x="376114" y="223137"/>
                  <a:pt x="373498" y="223334"/>
                </a:cubicBezTo>
                <a:cubicBezTo>
                  <a:pt x="370882" y="223522"/>
                  <a:pt x="365821" y="219495"/>
                  <a:pt x="365255" y="218509"/>
                </a:cubicBezTo>
                <a:cubicBezTo>
                  <a:pt x="364698" y="217515"/>
                  <a:pt x="361061" y="219383"/>
                  <a:pt x="362262" y="215545"/>
                </a:cubicBezTo>
                <a:cubicBezTo>
                  <a:pt x="363445" y="211766"/>
                  <a:pt x="367031" y="216230"/>
                  <a:pt x="368540" y="215142"/>
                </a:cubicBezTo>
                <a:cubicBezTo>
                  <a:pt x="370171" y="213977"/>
                  <a:pt x="369664" y="212785"/>
                  <a:pt x="369398" y="211868"/>
                </a:cubicBezTo>
                <a:cubicBezTo>
                  <a:pt x="369107" y="211860"/>
                  <a:pt x="368823" y="211834"/>
                  <a:pt x="368540" y="211834"/>
                </a:cubicBezTo>
                <a:close/>
                <a:moveTo>
                  <a:pt x="198590" y="79032"/>
                </a:moveTo>
                <a:lnTo>
                  <a:pt x="226492" y="106907"/>
                </a:lnTo>
                <a:cubicBezTo>
                  <a:pt x="262302" y="72965"/>
                  <a:pt x="310241" y="51671"/>
                  <a:pt x="363051" y="50292"/>
                </a:cubicBezTo>
                <a:lnTo>
                  <a:pt x="363051" y="11037"/>
                </a:lnTo>
                <a:cubicBezTo>
                  <a:pt x="301217" y="12374"/>
                  <a:pt x="243209" y="36358"/>
                  <a:pt x="198590" y="79032"/>
                </a:cubicBezTo>
                <a:close/>
                <a:moveTo>
                  <a:pt x="122766" y="251080"/>
                </a:moveTo>
                <a:lnTo>
                  <a:pt x="162068" y="251080"/>
                </a:lnTo>
                <a:cubicBezTo>
                  <a:pt x="163449" y="198320"/>
                  <a:pt x="184763" y="150429"/>
                  <a:pt x="218729" y="114662"/>
                </a:cubicBezTo>
                <a:lnTo>
                  <a:pt x="190827" y="86787"/>
                </a:lnTo>
                <a:cubicBezTo>
                  <a:pt x="148121" y="131354"/>
                  <a:pt x="124113" y="189306"/>
                  <a:pt x="122766" y="251080"/>
                </a:cubicBezTo>
                <a:close/>
              </a:path>
            </a:pathLst>
          </a:custGeom>
          <a:solidFill>
            <a:schemeClr val="bg1"/>
          </a:solidFill>
          <a:ln w="4834" cap="flat">
            <a:noFill/>
            <a:prstDash val="solid"/>
            <a:miter/>
          </a:ln>
        </p:spPr>
        <p:txBody>
          <a:bodyPr rtlCol="0" anchor="ctr"/>
          <a:lstStyle/>
          <a:p>
            <a:endParaRPr lang="en-US"/>
          </a:p>
        </p:txBody>
      </p:sp>
    </p:spTree>
    <p:extLst>
      <p:ext uri="{BB962C8B-B14F-4D97-AF65-F5344CB8AC3E}">
        <p14:creationId xmlns:p14="http://schemas.microsoft.com/office/powerpoint/2010/main" val="19258990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ABA9A-9E1B-A45C-3EAE-2D622BCF1FA5}"/>
              </a:ext>
            </a:extLst>
          </p:cNvPr>
          <p:cNvSpPr>
            <a:spLocks noGrp="1"/>
          </p:cNvSpPr>
          <p:nvPr>
            <p:ph type="title" hasCustomPrompt="1"/>
          </p:nvPr>
        </p:nvSpPr>
        <p:spPr/>
        <p:txBody>
          <a:bodyPr/>
          <a:lstStyle/>
          <a:p>
            <a:r>
              <a:rPr lang="en-US"/>
              <a:t>Vertical layout: Click to edit title style</a:t>
            </a:r>
          </a:p>
        </p:txBody>
      </p:sp>
      <p:sp>
        <p:nvSpPr>
          <p:cNvPr id="3" name="Vertical Text Placeholder 2">
            <a:extLst>
              <a:ext uri="{FF2B5EF4-FFF2-40B4-BE49-F238E27FC236}">
                <a16:creationId xmlns:a16="http://schemas.microsoft.com/office/drawing/2014/main" id="{6499277F-61A6-266E-6BC1-56A612863B2E}"/>
              </a:ext>
            </a:extLst>
          </p:cNvPr>
          <p:cNvSpPr>
            <a:spLocks noGrp="1"/>
          </p:cNvSpPr>
          <p:nvPr>
            <p:ph type="body" orient="vert" idx="1" hasCustomPrompt="1"/>
          </p:nvPr>
        </p:nvSpPr>
        <p:spPr/>
        <p:txBody>
          <a:bodyPr vert="eaVert"/>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16A361-6D1A-18B2-BFD2-0E1EFE1AC34C}"/>
              </a:ext>
            </a:extLst>
          </p:cNvPr>
          <p:cNvSpPr>
            <a:spLocks noGrp="1"/>
          </p:cNvSpPr>
          <p:nvPr>
            <p:ph type="dt" sz="half" idx="10"/>
          </p:nvPr>
        </p:nvSpPr>
        <p:spPr/>
        <p:txBody>
          <a:bodyPr/>
          <a:lstStyle/>
          <a:p>
            <a:fld id="{062FA123-075A-4C4C-B071-A681BAF9F357}" type="datetime1">
              <a:rPr lang="en-US" smtClean="0"/>
              <a:t>11/28/2023</a:t>
            </a:fld>
            <a:endParaRPr lang="en-US"/>
          </a:p>
        </p:txBody>
      </p:sp>
      <p:sp>
        <p:nvSpPr>
          <p:cNvPr id="5" name="Footer Placeholder 4">
            <a:extLst>
              <a:ext uri="{FF2B5EF4-FFF2-40B4-BE49-F238E27FC236}">
                <a16:creationId xmlns:a16="http://schemas.microsoft.com/office/drawing/2014/main" id="{0A8E75AC-1E58-3824-A4A3-B0AF9DE19AF3}"/>
              </a:ext>
            </a:extLst>
          </p:cNvPr>
          <p:cNvSpPr>
            <a:spLocks noGrp="1"/>
          </p:cNvSpPr>
          <p:nvPr>
            <p:ph type="ftr" sz="quarter" idx="11"/>
          </p:nvPr>
        </p:nvSpPr>
        <p:spPr/>
        <p:txBody>
          <a:bodyPr/>
          <a:lstStyle/>
          <a:p>
            <a:r>
              <a:rPr lang="en-US"/>
              <a:t>How to use this template</a:t>
            </a:r>
          </a:p>
        </p:txBody>
      </p:sp>
      <p:sp>
        <p:nvSpPr>
          <p:cNvPr id="6" name="Slide Number Placeholder 5">
            <a:extLst>
              <a:ext uri="{FF2B5EF4-FFF2-40B4-BE49-F238E27FC236}">
                <a16:creationId xmlns:a16="http://schemas.microsoft.com/office/drawing/2014/main" id="{52BF4EC9-ABEC-3470-7738-1CC8EFA90126}"/>
              </a:ext>
            </a:extLst>
          </p:cNvPr>
          <p:cNvSpPr>
            <a:spLocks noGrp="1"/>
          </p:cNvSpPr>
          <p:nvPr>
            <p:ph type="sldNum" sz="quarter" idx="12"/>
          </p:nvPr>
        </p:nvSpPr>
        <p:spPr/>
        <p:txBody>
          <a:bodyPr/>
          <a:lstStyle/>
          <a:p>
            <a:fld id="{3AEF997A-A681-BA4B-BE23-60D9BF002CFB}" type="slidenum">
              <a:rPr lang="en-US" smtClean="0"/>
              <a:t>‹#›</a:t>
            </a:fld>
            <a:endParaRPr lang="en-US"/>
          </a:p>
        </p:txBody>
      </p:sp>
    </p:spTree>
    <p:extLst>
      <p:ext uri="{BB962C8B-B14F-4D97-AF65-F5344CB8AC3E}">
        <p14:creationId xmlns:p14="http://schemas.microsoft.com/office/powerpoint/2010/main" val="7318979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6F4893-B27E-C03E-70FA-D4FA9FF2FAD9}"/>
              </a:ext>
            </a:extLst>
          </p:cNvPr>
          <p:cNvSpPr>
            <a:spLocks noGrp="1"/>
          </p:cNvSpPr>
          <p:nvPr>
            <p:ph type="title" orient="vert" hasCustomPrompt="1"/>
          </p:nvPr>
        </p:nvSpPr>
        <p:spPr>
          <a:xfrm>
            <a:off x="8464550" y="365125"/>
            <a:ext cx="3155950" cy="5349875"/>
          </a:xfrm>
        </p:spPr>
        <p:txBody>
          <a:bodyPr vert="eaVert"/>
          <a:lstStyle/>
          <a:p>
            <a:r>
              <a:rPr lang="en-US"/>
              <a:t>Vertical layout: click to edit title</a:t>
            </a:r>
          </a:p>
        </p:txBody>
      </p:sp>
      <p:sp>
        <p:nvSpPr>
          <p:cNvPr id="3" name="Vertical Text Placeholder 2">
            <a:extLst>
              <a:ext uri="{FF2B5EF4-FFF2-40B4-BE49-F238E27FC236}">
                <a16:creationId xmlns:a16="http://schemas.microsoft.com/office/drawing/2014/main" id="{9BCF0E0A-51DB-44E5-9AF2-B42A45D13935}"/>
              </a:ext>
            </a:extLst>
          </p:cNvPr>
          <p:cNvSpPr>
            <a:spLocks noGrp="1"/>
          </p:cNvSpPr>
          <p:nvPr>
            <p:ph type="body" orient="vert" idx="1" hasCustomPrompt="1"/>
          </p:nvPr>
        </p:nvSpPr>
        <p:spPr>
          <a:xfrm>
            <a:off x="588892" y="365125"/>
            <a:ext cx="7647058" cy="5349875"/>
          </a:xfrm>
        </p:spPr>
        <p:txBody>
          <a:bodyPr vert="eaVert"/>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68C090-E9A7-B5C5-13F2-53C150BB8670}"/>
              </a:ext>
            </a:extLst>
          </p:cNvPr>
          <p:cNvSpPr>
            <a:spLocks noGrp="1"/>
          </p:cNvSpPr>
          <p:nvPr>
            <p:ph type="dt" sz="half" idx="10"/>
          </p:nvPr>
        </p:nvSpPr>
        <p:spPr/>
        <p:txBody>
          <a:bodyPr/>
          <a:lstStyle/>
          <a:p>
            <a:fld id="{8F2C83AE-A10C-7B4F-B97D-CF503A5E7462}" type="datetime1">
              <a:rPr lang="en-US" smtClean="0"/>
              <a:t>11/28/2023</a:t>
            </a:fld>
            <a:endParaRPr lang="en-US"/>
          </a:p>
        </p:txBody>
      </p:sp>
      <p:sp>
        <p:nvSpPr>
          <p:cNvPr id="5" name="Footer Placeholder 4">
            <a:extLst>
              <a:ext uri="{FF2B5EF4-FFF2-40B4-BE49-F238E27FC236}">
                <a16:creationId xmlns:a16="http://schemas.microsoft.com/office/drawing/2014/main" id="{7827BFC2-DF94-0458-6C42-6DC050DA7E14}"/>
              </a:ext>
            </a:extLst>
          </p:cNvPr>
          <p:cNvSpPr>
            <a:spLocks noGrp="1"/>
          </p:cNvSpPr>
          <p:nvPr>
            <p:ph type="ftr" sz="quarter" idx="11"/>
          </p:nvPr>
        </p:nvSpPr>
        <p:spPr/>
        <p:txBody>
          <a:bodyPr/>
          <a:lstStyle/>
          <a:p>
            <a:r>
              <a:rPr lang="en-US"/>
              <a:t>How to use this template</a:t>
            </a:r>
          </a:p>
        </p:txBody>
      </p:sp>
      <p:sp>
        <p:nvSpPr>
          <p:cNvPr id="6" name="Slide Number Placeholder 5">
            <a:extLst>
              <a:ext uri="{FF2B5EF4-FFF2-40B4-BE49-F238E27FC236}">
                <a16:creationId xmlns:a16="http://schemas.microsoft.com/office/drawing/2014/main" id="{31AA71B0-F2E5-259E-56D3-E898F9FAFE7B}"/>
              </a:ext>
            </a:extLst>
          </p:cNvPr>
          <p:cNvSpPr>
            <a:spLocks noGrp="1"/>
          </p:cNvSpPr>
          <p:nvPr>
            <p:ph type="sldNum" sz="quarter" idx="12"/>
          </p:nvPr>
        </p:nvSpPr>
        <p:spPr/>
        <p:txBody>
          <a:bodyPr/>
          <a:lstStyle/>
          <a:p>
            <a:fld id="{3AEF997A-A681-BA4B-BE23-60D9BF002CFB}" type="slidenum">
              <a:rPr lang="en-US" smtClean="0"/>
              <a:t>‹#›</a:t>
            </a:fld>
            <a:endParaRPr lang="en-US"/>
          </a:p>
        </p:txBody>
      </p:sp>
    </p:spTree>
    <p:extLst>
      <p:ext uri="{BB962C8B-B14F-4D97-AF65-F5344CB8AC3E}">
        <p14:creationId xmlns:p14="http://schemas.microsoft.com/office/powerpoint/2010/main" val="158470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9FDF3-3D85-42EE-9075-765365697E7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1451E7-C2D6-4F80-9059-9C6F05F0D351}"/>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4" name="Footer Placeholder 3">
            <a:extLst>
              <a:ext uri="{FF2B5EF4-FFF2-40B4-BE49-F238E27FC236}">
                <a16:creationId xmlns:a16="http://schemas.microsoft.com/office/drawing/2014/main" id="{FB3E5E42-82FD-4552-A39B-30CDEECCCE6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F64044-42D3-4F0F-9779-43D8C6C88A68}"/>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3104229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286019-7FC2-437E-9510-C0FA926FC6E5}"/>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3" name="Footer Placeholder 2">
            <a:extLst>
              <a:ext uri="{FF2B5EF4-FFF2-40B4-BE49-F238E27FC236}">
                <a16:creationId xmlns:a16="http://schemas.microsoft.com/office/drawing/2014/main" id="{29F7FF08-2C8C-42D3-A5FC-62AE468A2C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D187C79-3325-44AC-963D-1954E981FB6B}"/>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1784332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28373-7CF9-40A6-8CC7-356A12CD7A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D3991DA-5705-45B6-BF52-02128B5859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5ECFB6-AB8D-4B00-A268-B6F3B9672A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27FF719-B1E3-446D-9ED6-DAD6B9690AEE}"/>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6" name="Footer Placeholder 5">
            <a:extLst>
              <a:ext uri="{FF2B5EF4-FFF2-40B4-BE49-F238E27FC236}">
                <a16:creationId xmlns:a16="http://schemas.microsoft.com/office/drawing/2014/main" id="{C3F9601C-A82B-4A86-B2E1-3A418859B4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168E26-49E5-4865-B763-E91C2422FDA4}"/>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4072094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CA612-4B23-4A8B-BECA-98D68CD7E9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2EBE2B4-1D2B-4A89-AC5B-3D2F644764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46AF787-6C7E-4609-BFF8-DC1E90DC7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3BCE61B-C032-4883-AB6E-F89465B3A2B5}"/>
              </a:ext>
            </a:extLst>
          </p:cNvPr>
          <p:cNvSpPr>
            <a:spLocks noGrp="1"/>
          </p:cNvSpPr>
          <p:nvPr>
            <p:ph type="dt" sz="half" idx="10"/>
          </p:nvPr>
        </p:nvSpPr>
        <p:spPr/>
        <p:txBody>
          <a:bodyPr/>
          <a:lstStyle/>
          <a:p>
            <a:fld id="{37954404-3100-46B0-87EF-D5EA07BA75ED}" type="datetimeFigureOut">
              <a:rPr lang="en-US" smtClean="0"/>
              <a:pPr/>
              <a:t>11/28/2023</a:t>
            </a:fld>
            <a:endParaRPr lang="en-US"/>
          </a:p>
        </p:txBody>
      </p:sp>
      <p:sp>
        <p:nvSpPr>
          <p:cNvPr id="6" name="Footer Placeholder 5">
            <a:extLst>
              <a:ext uri="{FF2B5EF4-FFF2-40B4-BE49-F238E27FC236}">
                <a16:creationId xmlns:a16="http://schemas.microsoft.com/office/drawing/2014/main" id="{5D04B4F7-25BF-43D5-8A7C-DA038C5BB5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6F4067-737A-4572-8766-C207D400C99B}"/>
              </a:ext>
            </a:extLst>
          </p:cNvPr>
          <p:cNvSpPr>
            <a:spLocks noGrp="1"/>
          </p:cNvSpPr>
          <p:nvPr>
            <p:ph type="sldNum" sz="quarter" idx="12"/>
          </p:nvPr>
        </p:nvSpPr>
        <p:spPr/>
        <p:txBody>
          <a:bodyPr/>
          <a:lstStyle/>
          <a:p>
            <a:fld id="{961E0DA8-AC27-403E-90E8-404BCA9BAC80}" type="slidenum">
              <a:rPr lang="en-US" smtClean="0"/>
              <a:pPr/>
              <a:t>‹#›</a:t>
            </a:fld>
            <a:endParaRPr lang="en-US"/>
          </a:p>
        </p:txBody>
      </p:sp>
    </p:spTree>
    <p:extLst>
      <p:ext uri="{BB962C8B-B14F-4D97-AF65-F5344CB8AC3E}">
        <p14:creationId xmlns:p14="http://schemas.microsoft.com/office/powerpoint/2010/main" val="2469413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tags" Target="../tags/tag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image" Target="../media/image3.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oleObject" Target="../embeddings/oleObject3.bin"/><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881562F-A6D9-DEE4-0C0D-F1A4E1D28959}"/>
              </a:ext>
            </a:extLst>
          </p:cNvPr>
          <p:cNvGraphicFramePr>
            <a:graphicFrameLocks noChangeAspect="1"/>
          </p:cNvGraphicFramePr>
          <p:nvPr userDrawn="1">
            <p:custDataLst>
              <p:tags r:id="rId14"/>
            </p:custDataLst>
            <p:extLst>
              <p:ext uri="{D42A27DB-BD31-4B8C-83A1-F6EECF244321}">
                <p14:modId xmlns:p14="http://schemas.microsoft.com/office/powerpoint/2010/main" val="33387849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Object 7" hidden="1">
                        <a:extLst>
                          <a:ext uri="{FF2B5EF4-FFF2-40B4-BE49-F238E27FC236}">
                            <a16:creationId xmlns:a16="http://schemas.microsoft.com/office/drawing/2014/main" id="{5881562F-A6D9-DEE4-0C0D-F1A4E1D28959}"/>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86E8647-56AD-4330-B207-47213A50360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2BE2B57-3F1C-48B4-AA5A-BB0EC60732A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F49DEE-CB30-41AE-813F-9483EA5C34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54404-3100-46B0-87EF-D5EA07BA75ED}" type="datetimeFigureOut">
              <a:rPr lang="en-US" smtClean="0"/>
              <a:pPr/>
              <a:t>11/28/2023</a:t>
            </a:fld>
            <a:endParaRPr lang="en-US"/>
          </a:p>
        </p:txBody>
      </p:sp>
      <p:sp>
        <p:nvSpPr>
          <p:cNvPr id="5" name="Footer Placeholder 4">
            <a:extLst>
              <a:ext uri="{FF2B5EF4-FFF2-40B4-BE49-F238E27FC236}">
                <a16:creationId xmlns:a16="http://schemas.microsoft.com/office/drawing/2014/main" id="{8E5267ED-AE67-49DE-8C1F-22764F38AF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F761221-0CFF-4660-84D1-C51FAACEBB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1E0DA8-AC27-403E-90E8-404BCA9BAC80}" type="slidenum">
              <a:rPr lang="en-US" smtClean="0"/>
              <a:pPr/>
              <a:t>‹#›</a:t>
            </a:fld>
            <a:endParaRPr lang="en-US"/>
          </a:p>
        </p:txBody>
      </p:sp>
    </p:spTree>
    <p:extLst>
      <p:ext uri="{BB962C8B-B14F-4D97-AF65-F5344CB8AC3E}">
        <p14:creationId xmlns:p14="http://schemas.microsoft.com/office/powerpoint/2010/main" val="16550355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7CB2F7-49B1-2319-25BA-21AF352F5C1E}"/>
              </a:ext>
            </a:extLst>
          </p:cNvPr>
          <p:cNvGraphicFramePr>
            <a:graphicFrameLocks noChangeAspect="1"/>
          </p:cNvGraphicFramePr>
          <p:nvPr userDrawn="1">
            <p:custDataLst>
              <p:tags r:id="rId13"/>
            </p:custDataLst>
            <p:extLst>
              <p:ext uri="{D42A27DB-BD31-4B8C-83A1-F6EECF244321}">
                <p14:modId xmlns:p14="http://schemas.microsoft.com/office/powerpoint/2010/main" val="1698358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Object 7" hidden="1">
                        <a:extLst>
                          <a:ext uri="{FF2B5EF4-FFF2-40B4-BE49-F238E27FC236}">
                            <a16:creationId xmlns:a16="http://schemas.microsoft.com/office/drawing/2014/main" id="{107CB2F7-49B1-2319-25BA-21AF352F5C1E}"/>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0A317E3-5993-41BA-9B67-6D56D5E117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E709BBC-2CA6-409B-9C6B-204635904DD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50DCAC-FE22-4465-94C1-AE6DE0E83D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960827-D15D-47E3-A7D7-4EA733BFE1B5}" type="datetimeFigureOut">
              <a:rPr lang="en-US" smtClean="0"/>
              <a:t>11/28/2023</a:t>
            </a:fld>
            <a:endParaRPr lang="en-US"/>
          </a:p>
        </p:txBody>
      </p:sp>
      <p:sp>
        <p:nvSpPr>
          <p:cNvPr id="5" name="Footer Placeholder 4">
            <a:extLst>
              <a:ext uri="{FF2B5EF4-FFF2-40B4-BE49-F238E27FC236}">
                <a16:creationId xmlns:a16="http://schemas.microsoft.com/office/drawing/2014/main" id="{ECDF8F74-C59B-4CB1-9AC3-320C72E1464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AA136B-BA47-4A7B-91B0-E98061E12E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BE7B9D-0770-4262-BEB3-C6AB74750405}" type="slidenum">
              <a:rPr lang="en-US" smtClean="0"/>
              <a:t>‹#›</a:t>
            </a:fld>
            <a:endParaRPr lang="en-US"/>
          </a:p>
        </p:txBody>
      </p:sp>
    </p:spTree>
    <p:extLst>
      <p:ext uri="{BB962C8B-B14F-4D97-AF65-F5344CB8AC3E}">
        <p14:creationId xmlns:p14="http://schemas.microsoft.com/office/powerpoint/2010/main" val="36420716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8866544-B89F-CC30-7B4D-9AAA631F8FEC}"/>
              </a:ext>
            </a:extLst>
          </p:cNvPr>
          <p:cNvGraphicFramePr>
            <a:graphicFrameLocks noChangeAspect="1"/>
          </p:cNvGraphicFramePr>
          <p:nvPr userDrawn="1">
            <p:custDataLst>
              <p:tags r:id="rId34"/>
            </p:custDataLst>
            <p:extLst>
              <p:ext uri="{D42A27DB-BD31-4B8C-83A1-F6EECF244321}">
                <p14:modId xmlns:p14="http://schemas.microsoft.com/office/powerpoint/2010/main" val="40368037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5" imgW="7772400" imgH="10058400" progId="TCLayout.ActiveDocument.1">
                  <p:embed/>
                </p:oleObj>
              </mc:Choice>
              <mc:Fallback>
                <p:oleObj name="think-cell Slide" r:id="rId35" imgW="7772400" imgH="10058400" progId="TCLayout.ActiveDocument.1">
                  <p:embed/>
                  <p:pic>
                    <p:nvPicPr>
                      <p:cNvPr id="8" name="Object 7" hidden="1">
                        <a:extLst>
                          <a:ext uri="{FF2B5EF4-FFF2-40B4-BE49-F238E27FC236}">
                            <a16:creationId xmlns:a16="http://schemas.microsoft.com/office/drawing/2014/main" id="{78866544-B89F-CC30-7B4D-9AAA631F8FEC}"/>
                          </a:ext>
                        </a:extLst>
                      </p:cNvPr>
                      <p:cNvPicPr/>
                      <p:nvPr/>
                    </p:nvPicPr>
                    <p:blipFill>
                      <a:blip r:embed="rId3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4559EFE-6AF5-67D9-599E-03DA81E365FB}"/>
              </a:ext>
            </a:extLst>
          </p:cNvPr>
          <p:cNvSpPr>
            <a:spLocks noGrp="1"/>
          </p:cNvSpPr>
          <p:nvPr>
            <p:ph type="title"/>
          </p:nvPr>
        </p:nvSpPr>
        <p:spPr>
          <a:xfrm>
            <a:off x="588892" y="370094"/>
            <a:ext cx="8775771" cy="1325563"/>
          </a:xfrm>
          <a:prstGeom prst="rect">
            <a:avLst/>
          </a:prstGeom>
        </p:spPr>
        <p:txBody>
          <a:bodyPr vert="horz" lIns="91440" tIns="45720" rIns="91440" bIns="45720" rtlCol="0" anchor="t">
            <a:noAutofit/>
          </a:bodyPr>
          <a:lstStyle/>
          <a:p>
            <a:r>
              <a:rPr lang="en-US"/>
              <a:t>Click to edit title style</a:t>
            </a:r>
          </a:p>
        </p:txBody>
      </p:sp>
      <p:sp>
        <p:nvSpPr>
          <p:cNvPr id="3" name="Text Placeholder 2">
            <a:extLst>
              <a:ext uri="{FF2B5EF4-FFF2-40B4-BE49-F238E27FC236}">
                <a16:creationId xmlns:a16="http://schemas.microsoft.com/office/drawing/2014/main" id="{812005FC-0C47-372F-0D1B-596BC9408D3C}"/>
              </a:ext>
            </a:extLst>
          </p:cNvPr>
          <p:cNvSpPr>
            <a:spLocks noGrp="1"/>
          </p:cNvSpPr>
          <p:nvPr>
            <p:ph type="body" idx="1"/>
          </p:nvPr>
        </p:nvSpPr>
        <p:spPr>
          <a:xfrm>
            <a:off x="588893" y="1954213"/>
            <a:ext cx="8775770" cy="3754437"/>
          </a:xfrm>
          <a:prstGeom prst="rect">
            <a:avLst/>
          </a:prstGeom>
        </p:spPr>
        <p:txBody>
          <a:bodyPr vert="horz" lIns="91440" tIns="45720" rIns="91440" bIns="4572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07DC56-3225-7E03-D4D0-86098050EBF3}"/>
              </a:ext>
            </a:extLst>
          </p:cNvPr>
          <p:cNvSpPr>
            <a:spLocks noGrp="1"/>
          </p:cNvSpPr>
          <p:nvPr>
            <p:ph type="dt" sz="half" idx="2"/>
          </p:nvPr>
        </p:nvSpPr>
        <p:spPr>
          <a:xfrm>
            <a:off x="3954464" y="5943600"/>
            <a:ext cx="898524" cy="571501"/>
          </a:xfrm>
          <a:prstGeom prst="rect">
            <a:avLst/>
          </a:prstGeom>
        </p:spPr>
        <p:txBody>
          <a:bodyPr vert="horz" lIns="91440" tIns="45720" rIns="91440" bIns="45720" rtlCol="0" anchor="b"/>
          <a:lstStyle>
            <a:lvl1pPr algn="r">
              <a:defRPr sz="1050">
                <a:solidFill>
                  <a:schemeClr val="tx1">
                    <a:tint val="75000"/>
                  </a:schemeClr>
                </a:solidFill>
              </a:defRPr>
            </a:lvl1pPr>
          </a:lstStyle>
          <a:p>
            <a:fld id="{8501A164-BD0A-B140-B6B6-EFDBA0EA376E}" type="datetime1">
              <a:rPr lang="en-US" smtClean="0"/>
              <a:t>11/28/2023</a:t>
            </a:fld>
            <a:endParaRPr lang="en-US"/>
          </a:p>
        </p:txBody>
      </p:sp>
      <p:sp>
        <p:nvSpPr>
          <p:cNvPr id="5" name="Footer Placeholder 4">
            <a:extLst>
              <a:ext uri="{FF2B5EF4-FFF2-40B4-BE49-F238E27FC236}">
                <a16:creationId xmlns:a16="http://schemas.microsoft.com/office/drawing/2014/main" id="{BE272594-9ADB-6BE5-24EF-99B30B7636A8}"/>
              </a:ext>
            </a:extLst>
          </p:cNvPr>
          <p:cNvSpPr>
            <a:spLocks noGrp="1"/>
          </p:cNvSpPr>
          <p:nvPr>
            <p:ph type="ftr" sz="quarter" idx="3"/>
          </p:nvPr>
        </p:nvSpPr>
        <p:spPr>
          <a:xfrm>
            <a:off x="7337424" y="5967207"/>
            <a:ext cx="4283075" cy="547894"/>
          </a:xfrm>
          <a:prstGeom prst="rect">
            <a:avLst/>
          </a:prstGeom>
        </p:spPr>
        <p:txBody>
          <a:bodyPr vert="horz" lIns="91440" tIns="45720" rIns="91440" bIns="45720" rtlCol="0" anchor="b"/>
          <a:lstStyle>
            <a:lvl1pPr algn="r">
              <a:defRPr sz="1050">
                <a:solidFill>
                  <a:schemeClr val="tx1">
                    <a:tint val="75000"/>
                  </a:schemeClr>
                </a:solidFill>
              </a:defRPr>
            </a:lvl1pPr>
          </a:lstStyle>
          <a:p>
            <a:r>
              <a:rPr lang="en-US"/>
              <a:t>How to use this template</a:t>
            </a:r>
          </a:p>
        </p:txBody>
      </p:sp>
      <p:sp>
        <p:nvSpPr>
          <p:cNvPr id="6" name="Slide Number Placeholder 5">
            <a:extLst>
              <a:ext uri="{FF2B5EF4-FFF2-40B4-BE49-F238E27FC236}">
                <a16:creationId xmlns:a16="http://schemas.microsoft.com/office/drawing/2014/main" id="{DBF229DA-D603-704A-C009-ADD4E27690F6}"/>
              </a:ext>
            </a:extLst>
          </p:cNvPr>
          <p:cNvSpPr>
            <a:spLocks noGrp="1"/>
          </p:cNvSpPr>
          <p:nvPr>
            <p:ph type="sldNum" sz="quarter" idx="4"/>
          </p:nvPr>
        </p:nvSpPr>
        <p:spPr>
          <a:xfrm>
            <a:off x="5081588" y="5967207"/>
            <a:ext cx="2005012" cy="547894"/>
          </a:xfrm>
          <a:prstGeom prst="rect">
            <a:avLst/>
          </a:prstGeom>
        </p:spPr>
        <p:txBody>
          <a:bodyPr vert="horz" lIns="91440" tIns="45720" rIns="91440" bIns="45720" rtlCol="0" anchor="b"/>
          <a:lstStyle>
            <a:lvl1pPr algn="ctr">
              <a:defRPr sz="1050">
                <a:solidFill>
                  <a:schemeClr val="tx1">
                    <a:tint val="75000"/>
                  </a:schemeClr>
                </a:solidFill>
              </a:defRPr>
            </a:lvl1pPr>
          </a:lstStyle>
          <a:p>
            <a:fld id="{3AEF997A-A681-BA4B-BE23-60D9BF002CFB}" type="slidenum">
              <a:rPr lang="en-US" smtClean="0"/>
              <a:pPr/>
              <a:t>‹#›</a:t>
            </a:fld>
            <a:endParaRPr lang="en-US"/>
          </a:p>
        </p:txBody>
      </p:sp>
    </p:spTree>
    <p:extLst>
      <p:ext uri="{BB962C8B-B14F-4D97-AF65-F5344CB8AC3E}">
        <p14:creationId xmlns:p14="http://schemas.microsoft.com/office/powerpoint/2010/main" val="56085992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Lst>
  <p:hf sldNum="0" hdr="0" ftr="0" dt="0"/>
  <p:txStyles>
    <p:title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2800" b="0"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20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20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20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60">
          <p15:clr>
            <a:srgbClr val="F26B43"/>
          </p15:clr>
        </p15:guide>
        <p15:guide id="4" pos="926">
          <p15:clr>
            <a:srgbClr val="F26B43"/>
          </p15:clr>
        </p15:guide>
        <p15:guide id="5" pos="1070">
          <p15:clr>
            <a:srgbClr val="F26B43"/>
          </p15:clr>
        </p15:guide>
        <p15:guide id="6" pos="1636">
          <p15:clr>
            <a:srgbClr val="F26B43"/>
          </p15:clr>
        </p15:guide>
        <p15:guide id="7" pos="1780">
          <p15:clr>
            <a:srgbClr val="F26B43"/>
          </p15:clr>
        </p15:guide>
        <p15:guide id="8" pos="2347">
          <p15:clr>
            <a:srgbClr val="F26B43"/>
          </p15:clr>
        </p15:guide>
        <p15:guide id="9" pos="2491">
          <p15:clr>
            <a:srgbClr val="F26B43"/>
          </p15:clr>
        </p15:guide>
        <p15:guide id="10" pos="3057">
          <p15:clr>
            <a:srgbClr val="F26B43"/>
          </p15:clr>
        </p15:guide>
        <p15:guide id="11" pos="3201">
          <p15:clr>
            <a:srgbClr val="F26B43"/>
          </p15:clr>
        </p15:guide>
        <p15:guide id="12" pos="3768">
          <p15:clr>
            <a:srgbClr val="F26B43"/>
          </p15:clr>
        </p15:guide>
        <p15:guide id="13" pos="3912">
          <p15:clr>
            <a:srgbClr val="F26B43"/>
          </p15:clr>
        </p15:guide>
        <p15:guide id="14" pos="4464">
          <p15:clr>
            <a:srgbClr val="F26B43"/>
          </p15:clr>
        </p15:guide>
        <p15:guide id="15" pos="4622">
          <p15:clr>
            <a:srgbClr val="F26B43"/>
          </p15:clr>
        </p15:guide>
        <p15:guide id="16" pos="5188">
          <p15:clr>
            <a:srgbClr val="F26B43"/>
          </p15:clr>
        </p15:guide>
        <p15:guide id="17" pos="5332">
          <p15:clr>
            <a:srgbClr val="F26B43"/>
          </p15:clr>
        </p15:guide>
        <p15:guide id="18" pos="5899">
          <p15:clr>
            <a:srgbClr val="F26B43"/>
          </p15:clr>
        </p15:guide>
        <p15:guide id="19" pos="6043">
          <p15:clr>
            <a:srgbClr val="F26B43"/>
          </p15:clr>
        </p15:guide>
        <p15:guide id="20" pos="6609">
          <p15:clr>
            <a:srgbClr val="F26B43"/>
          </p15:clr>
        </p15:guide>
        <p15:guide id="21" pos="6753">
          <p15:clr>
            <a:srgbClr val="F26B43"/>
          </p15:clr>
        </p15:guide>
        <p15:guide id="22" pos="7320">
          <p15:clr>
            <a:srgbClr val="F26B43"/>
          </p15:clr>
        </p15:guide>
        <p15:guide id="23" orient="horz">
          <p15:clr>
            <a:srgbClr val="F26B43"/>
          </p15:clr>
        </p15:guide>
        <p15:guide id="24" orient="horz" pos="4320">
          <p15:clr>
            <a:srgbClr val="F26B43"/>
          </p15:clr>
        </p15:guide>
        <p15:guide id="25" orient="horz" pos="216">
          <p15:clr>
            <a:srgbClr val="F26B43"/>
          </p15:clr>
        </p15:guide>
        <p15:guide id="26" orient="horz" pos="576">
          <p15:clr>
            <a:srgbClr val="F26B43"/>
          </p15:clr>
        </p15:guide>
        <p15:guide id="27" orient="horz" pos="720">
          <p15:clr>
            <a:srgbClr val="F26B43"/>
          </p15:clr>
        </p15:guide>
        <p15:guide id="28" orient="horz" pos="1080">
          <p15:clr>
            <a:srgbClr val="F26B43"/>
          </p15:clr>
        </p15:guide>
        <p15:guide id="29" orient="horz" pos="1224">
          <p15:clr>
            <a:srgbClr val="F26B43"/>
          </p15:clr>
        </p15:guide>
        <p15:guide id="30" orient="horz" pos="1584">
          <p15:clr>
            <a:srgbClr val="F26B43"/>
          </p15:clr>
        </p15:guide>
        <p15:guide id="31" orient="horz" pos="1728">
          <p15:clr>
            <a:srgbClr val="F26B43"/>
          </p15:clr>
        </p15:guide>
        <p15:guide id="32" orient="horz" pos="2088">
          <p15:clr>
            <a:srgbClr val="F26B43"/>
          </p15:clr>
        </p15:guide>
        <p15:guide id="33" orient="horz" pos="2232">
          <p15:clr>
            <a:srgbClr val="F26B43"/>
          </p15:clr>
        </p15:guide>
        <p15:guide id="34" orient="horz" pos="2592">
          <p15:clr>
            <a:srgbClr val="F26B43"/>
          </p15:clr>
        </p15:guide>
        <p15:guide id="35" orient="horz" pos="2736">
          <p15:clr>
            <a:srgbClr val="F26B43"/>
          </p15:clr>
        </p15:guide>
        <p15:guide id="36" orient="horz" pos="3096">
          <p15:clr>
            <a:srgbClr val="F26B43"/>
          </p15:clr>
        </p15:guide>
        <p15:guide id="37" orient="horz" pos="3240">
          <p15:clr>
            <a:srgbClr val="F26B43"/>
          </p15:clr>
        </p15:guide>
        <p15:guide id="38" orient="horz" pos="3600">
          <p15:clr>
            <a:srgbClr val="F26B43"/>
          </p15:clr>
        </p15:guide>
        <p15:guide id="39" orient="horz" pos="3744">
          <p15:clr>
            <a:srgbClr val="F26B43"/>
          </p15:clr>
        </p15:guide>
        <p15:guide id="40"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svg"/></Relationships>
</file>

<file path=ppt/slides/_rels/slide1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51.svg"/><Relationship Id="rId3" Type="http://schemas.openxmlformats.org/officeDocument/2006/relationships/image" Target="../media/image37.png"/><Relationship Id="rId7" Type="http://schemas.openxmlformats.org/officeDocument/2006/relationships/image" Target="../media/image28.png"/><Relationship Id="rId12" Type="http://schemas.openxmlformats.org/officeDocument/2006/relationships/image" Target="../media/image50.png"/><Relationship Id="rId17" Type="http://schemas.openxmlformats.org/officeDocument/2006/relationships/image" Target="../media/image55.svg"/><Relationship Id="rId2" Type="http://schemas.openxmlformats.org/officeDocument/2006/relationships/image" Target="../media/image12.png"/><Relationship Id="rId16" Type="http://schemas.openxmlformats.org/officeDocument/2006/relationships/image" Target="../media/image54.png"/><Relationship Id="rId1" Type="http://schemas.openxmlformats.org/officeDocument/2006/relationships/slideLayout" Target="../slideLayouts/slideLayout1.xml"/><Relationship Id="rId6" Type="http://schemas.openxmlformats.org/officeDocument/2006/relationships/image" Target="../media/image42.svg"/><Relationship Id="rId11" Type="http://schemas.openxmlformats.org/officeDocument/2006/relationships/image" Target="../media/image49.svg"/><Relationship Id="rId5" Type="http://schemas.openxmlformats.org/officeDocument/2006/relationships/image" Target="../media/image41.png"/><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image" Target="../media/image38.svg"/><Relationship Id="rId9" Type="http://schemas.openxmlformats.org/officeDocument/2006/relationships/image" Target="../media/image47.svg"/><Relationship Id="rId14" Type="http://schemas.openxmlformats.org/officeDocument/2006/relationships/image" Target="../media/image52.png"/></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svg"/><Relationship Id="rId3" Type="http://schemas.openxmlformats.org/officeDocument/2006/relationships/image" Target="../media/image41.pn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svg"/><Relationship Id="rId2" Type="http://schemas.openxmlformats.org/officeDocument/2006/relationships/image" Target="../media/image12.png"/><Relationship Id="rId16"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51.svg"/><Relationship Id="rId5" Type="http://schemas.openxmlformats.org/officeDocument/2006/relationships/image" Target="../media/image28.png"/><Relationship Id="rId15" Type="http://schemas.openxmlformats.org/officeDocument/2006/relationships/image" Target="../media/image55.svg"/><Relationship Id="rId10" Type="http://schemas.openxmlformats.org/officeDocument/2006/relationships/image" Target="../media/image50.png"/><Relationship Id="rId4" Type="http://schemas.openxmlformats.org/officeDocument/2006/relationships/image" Target="../media/image42.svg"/><Relationship Id="rId9" Type="http://schemas.openxmlformats.org/officeDocument/2006/relationships/image" Target="../media/image49.svg"/><Relationship Id="rId14" Type="http://schemas.openxmlformats.org/officeDocument/2006/relationships/image" Target="../media/image54.png"/></Relationships>
</file>

<file path=ppt/slides/_rels/slide12.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18" Type="http://schemas.openxmlformats.org/officeDocument/2006/relationships/diagramData" Target="../diagrams/data1.xml"/><Relationship Id="rId26" Type="http://schemas.openxmlformats.org/officeDocument/2006/relationships/image" Target="../media/image61.svg"/><Relationship Id="rId3" Type="http://schemas.openxmlformats.org/officeDocument/2006/relationships/image" Target="../media/image41.png"/><Relationship Id="rId21" Type="http://schemas.openxmlformats.org/officeDocument/2006/relationships/diagramColors" Target="../diagrams/colors1.xml"/><Relationship Id="rId7" Type="http://schemas.openxmlformats.org/officeDocument/2006/relationships/image" Target="../media/image48.png"/><Relationship Id="rId12" Type="http://schemas.openxmlformats.org/officeDocument/2006/relationships/image" Target="../media/image53.svg"/><Relationship Id="rId17" Type="http://schemas.openxmlformats.org/officeDocument/2006/relationships/image" Target="../media/image28.png"/><Relationship Id="rId25" Type="http://schemas.openxmlformats.org/officeDocument/2006/relationships/image" Target="../media/image60.png"/><Relationship Id="rId2" Type="http://schemas.openxmlformats.org/officeDocument/2006/relationships/image" Target="../media/image12.png"/><Relationship Id="rId16" Type="http://schemas.openxmlformats.org/officeDocument/2006/relationships/image" Target="../media/image57.svg"/><Relationship Id="rId20" Type="http://schemas.openxmlformats.org/officeDocument/2006/relationships/diagramQuickStyle" Target="../diagrams/quickStyle1.xml"/><Relationship Id="rId1" Type="http://schemas.openxmlformats.org/officeDocument/2006/relationships/slideLayout" Target="../slideLayouts/slideLayout1.xml"/><Relationship Id="rId6" Type="http://schemas.openxmlformats.org/officeDocument/2006/relationships/image" Target="../media/image47.svg"/><Relationship Id="rId11" Type="http://schemas.openxmlformats.org/officeDocument/2006/relationships/image" Target="../media/image52.png"/><Relationship Id="rId24" Type="http://schemas.openxmlformats.org/officeDocument/2006/relationships/image" Target="../media/image59.svg"/><Relationship Id="rId5" Type="http://schemas.openxmlformats.org/officeDocument/2006/relationships/image" Target="../media/image43.png"/><Relationship Id="rId15" Type="http://schemas.openxmlformats.org/officeDocument/2006/relationships/image" Target="../media/image56.png"/><Relationship Id="rId23" Type="http://schemas.openxmlformats.org/officeDocument/2006/relationships/image" Target="../media/image58.png"/><Relationship Id="rId28" Type="http://schemas.openxmlformats.org/officeDocument/2006/relationships/image" Target="../media/image63.svg"/><Relationship Id="rId10" Type="http://schemas.openxmlformats.org/officeDocument/2006/relationships/image" Target="../media/image51.svg"/><Relationship Id="rId19" Type="http://schemas.openxmlformats.org/officeDocument/2006/relationships/diagramLayout" Target="../diagrams/layout1.xml"/><Relationship Id="rId4" Type="http://schemas.openxmlformats.org/officeDocument/2006/relationships/image" Target="../media/image42.svg"/><Relationship Id="rId9" Type="http://schemas.openxmlformats.org/officeDocument/2006/relationships/image" Target="../media/image50.png"/><Relationship Id="rId14" Type="http://schemas.openxmlformats.org/officeDocument/2006/relationships/image" Target="../media/image55.svg"/><Relationship Id="rId22" Type="http://schemas.microsoft.com/office/2007/relationships/diagramDrawing" Target="../diagrams/drawing1.xml"/><Relationship Id="rId27" Type="http://schemas.openxmlformats.org/officeDocument/2006/relationships/image" Target="../media/image62.png"/></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18" Type="http://schemas.openxmlformats.org/officeDocument/2006/relationships/image" Target="../media/image41.png"/><Relationship Id="rId3" Type="http://schemas.openxmlformats.org/officeDocument/2006/relationships/oleObject" Target="../embeddings/oleObject6.bin"/><Relationship Id="rId7" Type="http://schemas.openxmlformats.org/officeDocument/2006/relationships/image" Target="../media/image32.svg"/><Relationship Id="rId12" Type="http://schemas.openxmlformats.org/officeDocument/2006/relationships/image" Target="../media/image37.png"/><Relationship Id="rId17" Type="http://schemas.openxmlformats.org/officeDocument/2006/relationships/image" Target="../media/image46.svg"/><Relationship Id="rId2" Type="http://schemas.openxmlformats.org/officeDocument/2006/relationships/slideLayout" Target="../slideLayouts/slideLayout1.xml"/><Relationship Id="rId16" Type="http://schemas.openxmlformats.org/officeDocument/2006/relationships/image" Target="../media/image45.png"/><Relationship Id="rId20" Type="http://schemas.openxmlformats.org/officeDocument/2006/relationships/image" Target="../media/image28.png"/><Relationship Id="rId1" Type="http://schemas.openxmlformats.org/officeDocument/2006/relationships/tags" Target="../tags/tag7.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12.png"/><Relationship Id="rId15" Type="http://schemas.openxmlformats.org/officeDocument/2006/relationships/image" Target="../media/image40.svg"/><Relationship Id="rId10" Type="http://schemas.openxmlformats.org/officeDocument/2006/relationships/image" Target="../media/image35.png"/><Relationship Id="rId19" Type="http://schemas.openxmlformats.org/officeDocument/2006/relationships/image" Target="../media/image42.svg"/><Relationship Id="rId4" Type="http://schemas.openxmlformats.org/officeDocument/2006/relationships/image" Target="../media/image64.emf"/><Relationship Id="rId9" Type="http://schemas.openxmlformats.org/officeDocument/2006/relationships/image" Target="../media/image34.svg"/><Relationship Id="rId1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5.jpeg"/><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0.sv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3.jpeg"/><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28.png"/><Relationship Id="rId3" Type="http://schemas.openxmlformats.org/officeDocument/2006/relationships/oleObject" Target="../embeddings/oleObject5.bin"/><Relationship Id="rId21" Type="http://schemas.openxmlformats.org/officeDocument/2006/relationships/image" Target="../media/image12.png"/><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1.xml"/><Relationship Id="rId16" Type="http://schemas.openxmlformats.org/officeDocument/2006/relationships/image" Target="../media/image26.png"/><Relationship Id="rId20" Type="http://schemas.openxmlformats.org/officeDocument/2006/relationships/image" Target="../media/image30.svg"/><Relationship Id="rId1" Type="http://schemas.openxmlformats.org/officeDocument/2006/relationships/tags" Target="../tags/tag6.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3.jpeg"/><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29.png"/><Relationship Id="rId4" Type="http://schemas.openxmlformats.org/officeDocument/2006/relationships/image" Target="../media/image15.emf"/><Relationship Id="rId9" Type="http://schemas.openxmlformats.org/officeDocument/2006/relationships/image" Target="../media/image19.sv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svg"/><Relationship Id="rId17" Type="http://schemas.openxmlformats.org/officeDocument/2006/relationships/image" Target="../media/image44.svg"/><Relationship Id="rId2" Type="http://schemas.openxmlformats.org/officeDocument/2006/relationships/image" Target="../media/image12.png"/><Relationship Id="rId16" Type="http://schemas.openxmlformats.org/officeDocument/2006/relationships/image" Target="../media/image43.png"/><Relationship Id="rId1" Type="http://schemas.openxmlformats.org/officeDocument/2006/relationships/slideLayout" Target="../slideLayouts/slideLayout1.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28.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svg"/></Relationships>
</file>

<file path=ppt/slides/_rels/slide6.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5.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svg"/><Relationship Id="rId17" Type="http://schemas.openxmlformats.org/officeDocument/2006/relationships/image" Target="../media/image28.png"/><Relationship Id="rId2" Type="http://schemas.openxmlformats.org/officeDocument/2006/relationships/image" Target="../media/image12.png"/><Relationship Id="rId16" Type="http://schemas.openxmlformats.org/officeDocument/2006/relationships/image" Target="../media/image42.svg"/><Relationship Id="rId1" Type="http://schemas.openxmlformats.org/officeDocument/2006/relationships/slideLayout" Target="../slideLayouts/slideLayout1.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1.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6.svg"/></Relationships>
</file>

<file path=ppt/slides/_rels/slide7.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28.png"/><Relationship Id="rId3" Type="http://schemas.openxmlformats.org/officeDocument/2006/relationships/image" Target="../media/image31.png"/><Relationship Id="rId7" Type="http://schemas.openxmlformats.org/officeDocument/2006/relationships/image" Target="../media/image37.png"/><Relationship Id="rId12" Type="http://schemas.openxmlformats.org/officeDocument/2006/relationships/image" Target="../media/image42.svg"/><Relationship Id="rId17" Type="http://schemas.openxmlformats.org/officeDocument/2006/relationships/image" Target="../media/image49.svg"/><Relationship Id="rId2" Type="http://schemas.openxmlformats.org/officeDocument/2006/relationships/image" Target="../media/image12.png"/><Relationship Id="rId16" Type="http://schemas.openxmlformats.org/officeDocument/2006/relationships/image" Target="../media/image48.png"/><Relationship Id="rId1" Type="http://schemas.openxmlformats.org/officeDocument/2006/relationships/slideLayout" Target="../slideLayouts/slideLayout1.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7.svg"/><Relationship Id="rId10" Type="http://schemas.openxmlformats.org/officeDocument/2006/relationships/image" Target="../media/image40.svg"/><Relationship Id="rId4" Type="http://schemas.openxmlformats.org/officeDocument/2006/relationships/image" Target="../media/image32.svg"/><Relationship Id="rId9" Type="http://schemas.openxmlformats.org/officeDocument/2006/relationships/image" Target="../media/image39.png"/><Relationship Id="rId14"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7.sv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3.png"/><Relationship Id="rId17" Type="http://schemas.openxmlformats.org/officeDocument/2006/relationships/image" Target="../media/image51.svg"/><Relationship Id="rId2" Type="http://schemas.openxmlformats.org/officeDocument/2006/relationships/image" Target="../media/image12.png"/><Relationship Id="rId16" Type="http://schemas.openxmlformats.org/officeDocument/2006/relationships/image" Target="../media/image50.png"/><Relationship Id="rId1" Type="http://schemas.openxmlformats.org/officeDocument/2006/relationships/slideLayout" Target="../slideLayouts/slideLayout1.xml"/><Relationship Id="rId6" Type="http://schemas.openxmlformats.org/officeDocument/2006/relationships/image" Target="../media/image38.svg"/><Relationship Id="rId11" Type="http://schemas.openxmlformats.org/officeDocument/2006/relationships/image" Target="../media/image28.png"/><Relationship Id="rId5" Type="http://schemas.openxmlformats.org/officeDocument/2006/relationships/image" Target="../media/image37.png"/><Relationship Id="rId15" Type="http://schemas.openxmlformats.org/officeDocument/2006/relationships/image" Target="../media/image49.sv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8.png"/></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8.png"/><Relationship Id="rId18" Type="http://schemas.openxmlformats.org/officeDocument/2006/relationships/image" Target="../media/image53.svg"/><Relationship Id="rId3" Type="http://schemas.openxmlformats.org/officeDocument/2006/relationships/image" Target="../media/image12.png"/><Relationship Id="rId7" Type="http://schemas.openxmlformats.org/officeDocument/2006/relationships/image" Target="../media/image38.svg"/><Relationship Id="rId12" Type="http://schemas.openxmlformats.org/officeDocument/2006/relationships/image" Target="../media/image47.svg"/><Relationship Id="rId17" Type="http://schemas.openxmlformats.org/officeDocument/2006/relationships/image" Target="../media/image52.png"/><Relationship Id="rId2" Type="http://schemas.microsoft.com/office/2018/10/relationships/comments" Target="../comments/modernComment_120_6F6141F6.xml"/><Relationship Id="rId16" Type="http://schemas.openxmlformats.org/officeDocument/2006/relationships/image" Target="../media/image51.svg"/><Relationship Id="rId1" Type="http://schemas.openxmlformats.org/officeDocument/2006/relationships/slideLayout" Target="../slideLayouts/slideLayout1.xml"/><Relationship Id="rId6" Type="http://schemas.openxmlformats.org/officeDocument/2006/relationships/image" Target="../media/image37.png"/><Relationship Id="rId11" Type="http://schemas.openxmlformats.org/officeDocument/2006/relationships/image" Target="../media/image43.png"/><Relationship Id="rId5" Type="http://schemas.openxmlformats.org/officeDocument/2006/relationships/image" Target="../media/image36.svg"/><Relationship Id="rId15" Type="http://schemas.openxmlformats.org/officeDocument/2006/relationships/image" Target="../media/image50.png"/><Relationship Id="rId10" Type="http://schemas.openxmlformats.org/officeDocument/2006/relationships/image" Target="../media/image28.png"/><Relationship Id="rId4" Type="http://schemas.openxmlformats.org/officeDocument/2006/relationships/image" Target="../media/image35.png"/><Relationship Id="rId9" Type="http://schemas.openxmlformats.org/officeDocument/2006/relationships/image" Target="../media/image42.svg"/><Relationship Id="rId14" Type="http://schemas.openxmlformats.org/officeDocument/2006/relationships/image" Target="../media/image4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erson walking on a train platform&#10;&#10;Description automatically generated with low confidence">
            <a:extLst>
              <a:ext uri="{FF2B5EF4-FFF2-40B4-BE49-F238E27FC236}">
                <a16:creationId xmlns:a16="http://schemas.microsoft.com/office/drawing/2014/main" id="{81183135-C691-28E0-C5A4-EDCBCC0ED626}"/>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2943" b="12943"/>
          <a:stretch>
            <a:fillRect/>
          </a:stretch>
        </p:blipFill>
        <p:spPr>
          <a:solidFill>
            <a:schemeClr val="bg1">
              <a:lumMod val="85000"/>
            </a:schemeClr>
          </a:solidFill>
        </p:spPr>
      </p:pic>
      <p:pic>
        <p:nvPicPr>
          <p:cNvPr id="4" name="Graphic 3">
            <a:extLst>
              <a:ext uri="{FF2B5EF4-FFF2-40B4-BE49-F238E27FC236}">
                <a16:creationId xmlns:a16="http://schemas.microsoft.com/office/drawing/2014/main" id="{BB2B7032-5AF1-4AAE-A5B9-1EFDAF17FD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8765" y="515571"/>
            <a:ext cx="3617210" cy="655688"/>
          </a:xfrm>
          <a:prstGeom prst="rect">
            <a:avLst/>
          </a:prstGeom>
        </p:spPr>
      </p:pic>
      <p:pic>
        <p:nvPicPr>
          <p:cNvPr id="54" name="Picture Placeholder 53">
            <a:extLst>
              <a:ext uri="{FF2B5EF4-FFF2-40B4-BE49-F238E27FC236}">
                <a16:creationId xmlns:a16="http://schemas.microsoft.com/office/drawing/2014/main" id="{FA5AB626-C5A5-FC40-A66B-ADACB0CDB5AB}"/>
              </a:ext>
            </a:extLst>
          </p:cNvPr>
          <p:cNvPicPr>
            <a:picLocks noGrp="1" noChangeAspect="1"/>
          </p:cNvPicPr>
          <p:nvPr>
            <p:ph type="pic" sz="quarter" idx="11"/>
          </p:nvPr>
        </p:nvPicPr>
        <p:blipFill rotWithShape="1">
          <a:blip r:embed="rId5">
            <a:extLst>
              <a:ext uri="{28A0092B-C50C-407E-A947-70E740481C1C}">
                <a14:useLocalDpi xmlns:a14="http://schemas.microsoft.com/office/drawing/2010/main" val="0"/>
              </a:ext>
            </a:extLst>
          </a:blip>
          <a:srcRect l="28814" t="2" b="-2"/>
          <a:stretch/>
        </p:blipFill>
        <p:spPr>
          <a:xfrm>
            <a:off x="7052152" y="1527048"/>
            <a:ext cx="4110059" cy="5330825"/>
          </a:xfrm>
        </p:spPr>
      </p:pic>
      <p:pic>
        <p:nvPicPr>
          <p:cNvPr id="9" name="Picture 8" descr="A picture containing application&#10;&#10;Description automatically generated">
            <a:extLst>
              <a:ext uri="{FF2B5EF4-FFF2-40B4-BE49-F238E27FC236}">
                <a16:creationId xmlns:a16="http://schemas.microsoft.com/office/drawing/2014/main" id="{88632804-0106-359B-3C00-A45D157D10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41852" y="-821098"/>
            <a:ext cx="5144309" cy="3329026"/>
          </a:xfrm>
          <a:prstGeom prst="rect">
            <a:avLst/>
          </a:prstGeom>
        </p:spPr>
      </p:pic>
      <p:sp>
        <p:nvSpPr>
          <p:cNvPr id="10" name="TextBox 9">
            <a:extLst>
              <a:ext uri="{FF2B5EF4-FFF2-40B4-BE49-F238E27FC236}">
                <a16:creationId xmlns:a16="http://schemas.microsoft.com/office/drawing/2014/main" id="{36405BE6-8697-1163-7A33-A2785FCD57C3}"/>
              </a:ext>
            </a:extLst>
          </p:cNvPr>
          <p:cNvSpPr txBox="1"/>
          <p:nvPr/>
        </p:nvSpPr>
        <p:spPr>
          <a:xfrm>
            <a:off x="628765" y="2382560"/>
            <a:ext cx="5936343" cy="2277547"/>
          </a:xfrm>
          <a:prstGeom prst="rect">
            <a:avLst/>
          </a:prstGeom>
          <a:noFill/>
        </p:spPr>
        <p:txBody>
          <a:bodyPr wrap="square" rtlCol="0">
            <a:spAutoFit/>
          </a:bodyPr>
          <a:lstStyle/>
          <a:p>
            <a:r>
              <a:rPr lang="en-US" sz="6000" b="1">
                <a:solidFill>
                  <a:schemeClr val="bg1"/>
                </a:solidFill>
                <a:latin typeface="Roboto Black" panose="02000000000000000000" pitchFamily="2" charset="0"/>
                <a:ea typeface="Roboto Black" panose="02000000000000000000" pitchFamily="2" charset="0"/>
                <a:cs typeface="Raavi" panose="020B0502040204020203" pitchFamily="34" charset="0"/>
              </a:rPr>
              <a:t>Country </a:t>
            </a:r>
            <a:r>
              <a:rPr lang="en-US" sz="5400" b="1">
                <a:solidFill>
                  <a:schemeClr val="bg1"/>
                </a:solidFill>
                <a:latin typeface="Roboto Black" panose="02000000000000000000" pitchFamily="2" charset="0"/>
                <a:ea typeface="Roboto Black" panose="02000000000000000000" pitchFamily="2" charset="0"/>
                <a:cs typeface="Raavi" panose="020B0502040204020203" pitchFamily="34" charset="0"/>
              </a:rPr>
              <a:t>Template</a:t>
            </a:r>
            <a:endParaRPr lang="en-US" sz="6000" b="1">
              <a:solidFill>
                <a:schemeClr val="bg1"/>
              </a:solidFill>
              <a:latin typeface="Roboto Black" panose="02000000000000000000" pitchFamily="2" charset="0"/>
              <a:ea typeface="Roboto Black" panose="02000000000000000000" pitchFamily="2" charset="0"/>
              <a:cs typeface="Raavi" panose="020B0502040204020203" pitchFamily="34" charset="0"/>
            </a:endParaRPr>
          </a:p>
          <a:p>
            <a:endParaRPr lang="en-US" sz="2800"/>
          </a:p>
        </p:txBody>
      </p:sp>
    </p:spTree>
    <p:extLst>
      <p:ext uri="{BB962C8B-B14F-4D97-AF65-F5344CB8AC3E}">
        <p14:creationId xmlns:p14="http://schemas.microsoft.com/office/powerpoint/2010/main" val="3445605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Timeline</a:t>
            </a: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19" name="Graphic 18">
            <a:extLst>
              <a:ext uri="{FF2B5EF4-FFF2-40B4-BE49-F238E27FC236}">
                <a16:creationId xmlns:a16="http://schemas.microsoft.com/office/drawing/2014/main" id="{F6C6B292-7F2C-ED7B-2850-E47153EC008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2162" y="360858"/>
            <a:ext cx="811932" cy="811932"/>
          </a:xfrm>
          <a:prstGeom prst="rect">
            <a:avLst/>
          </a:prstGeom>
        </p:spPr>
      </p:pic>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4122" y="2369645"/>
            <a:ext cx="400050" cy="419100"/>
          </a:xfrm>
          <a:prstGeom prst="rect">
            <a:avLst/>
          </a:prstGeom>
        </p:spPr>
      </p:pic>
      <p:pic>
        <p:nvPicPr>
          <p:cNvPr id="27" name="Picture 26" descr="A picture containing window&#10;&#10;Description automatically generated">
            <a:extLst>
              <a:ext uri="{FF2B5EF4-FFF2-40B4-BE49-F238E27FC236}">
                <a16:creationId xmlns:a16="http://schemas.microsoft.com/office/drawing/2014/main" id="{4C582C9A-5382-8AFF-4BCE-CD7F086BC72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650" y="1679650"/>
            <a:ext cx="457201" cy="457201"/>
          </a:xfrm>
          <a:prstGeom prst="rect">
            <a:avLst/>
          </a:prstGeom>
        </p:spPr>
      </p:pic>
      <p:pic>
        <p:nvPicPr>
          <p:cNvPr id="2" name="Graphic 1">
            <a:extLst>
              <a:ext uri="{FF2B5EF4-FFF2-40B4-BE49-F238E27FC236}">
                <a16:creationId xmlns:a16="http://schemas.microsoft.com/office/drawing/2014/main" id="{CDDA472B-2C90-0DDA-1985-A24281C7C58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2443" y="3019080"/>
            <a:ext cx="457201" cy="510364"/>
          </a:xfrm>
          <a:prstGeom prst="rect">
            <a:avLst/>
          </a:prstGeom>
        </p:spPr>
      </p:pic>
      <p:pic>
        <p:nvPicPr>
          <p:cNvPr id="3" name="Graphic 2">
            <a:extLst>
              <a:ext uri="{FF2B5EF4-FFF2-40B4-BE49-F238E27FC236}">
                <a16:creationId xmlns:a16="http://schemas.microsoft.com/office/drawing/2014/main" id="{53835766-EA7D-2417-246E-26F165FA25E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0072" y="3748527"/>
            <a:ext cx="457200" cy="457200"/>
          </a:xfrm>
          <a:prstGeom prst="rect">
            <a:avLst/>
          </a:prstGeom>
        </p:spPr>
      </p:pic>
      <p:pic>
        <p:nvPicPr>
          <p:cNvPr id="6" name="Graphic 5">
            <a:extLst>
              <a:ext uri="{FF2B5EF4-FFF2-40B4-BE49-F238E27FC236}">
                <a16:creationId xmlns:a16="http://schemas.microsoft.com/office/drawing/2014/main" id="{6F42F767-1E07-3461-EC0E-A5FF20C41DA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5894" y="4482769"/>
            <a:ext cx="471378" cy="471378"/>
          </a:xfrm>
          <a:prstGeom prst="rect">
            <a:avLst/>
          </a:prstGeom>
        </p:spPr>
      </p:pic>
      <p:pic>
        <p:nvPicPr>
          <p:cNvPr id="7" name="Graphic 6">
            <a:extLst>
              <a:ext uri="{FF2B5EF4-FFF2-40B4-BE49-F238E27FC236}">
                <a16:creationId xmlns:a16="http://schemas.microsoft.com/office/drawing/2014/main" id="{96DE627F-01B2-82D2-9431-8EDB210E986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13788" y="5231189"/>
            <a:ext cx="541350" cy="541350"/>
          </a:xfrm>
          <a:prstGeom prst="rect">
            <a:avLst/>
          </a:prstGeom>
        </p:spPr>
      </p:pic>
      <p:sp>
        <p:nvSpPr>
          <p:cNvPr id="8" name="Text Placeholder 62">
            <a:extLst>
              <a:ext uri="{FF2B5EF4-FFF2-40B4-BE49-F238E27FC236}">
                <a16:creationId xmlns:a16="http://schemas.microsoft.com/office/drawing/2014/main" id="{B9B225E8-70BF-7F9E-DCEF-603428BE7D5A}"/>
              </a:ext>
            </a:extLst>
          </p:cNvPr>
          <p:cNvSpPr txBox="1">
            <a:spLocks/>
          </p:cNvSpPr>
          <p:nvPr/>
        </p:nvSpPr>
        <p:spPr>
          <a:xfrm>
            <a:off x="6761329" y="2029781"/>
            <a:ext cx="4985102"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938" marR="0" lvl="1" indent="0" algn="l" defTabSz="914400" rtl="0" eaLnBrk="1" fontAlgn="auto" latinLnBrk="0" hangingPunct="1">
              <a:lnSpc>
                <a:spcPct val="110000"/>
              </a:lnSpc>
              <a:spcBef>
                <a:spcPts val="800"/>
              </a:spcBef>
              <a:spcAft>
                <a:spcPts val="0"/>
              </a:spcAft>
              <a:buClr>
                <a:srgbClr val="009EDB"/>
              </a:buClr>
              <a:buSzTx/>
              <a:buNone/>
              <a:tabLst/>
              <a:defRPr/>
            </a:pPr>
            <a:r>
              <a:rPr lang="en-US" sz="1800" b="1">
                <a:latin typeface="Roboto" panose="02000000000000000000" pitchFamily="2" charset="0"/>
                <a:ea typeface="Roboto" panose="02000000000000000000" pitchFamily="2" charset="0"/>
                <a:cs typeface="Calibri"/>
              </a:rPr>
              <a:t>The more specific the best; consider including some of the following activities:</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Pre-feasibility &amp; feasibility study</a:t>
            </a:r>
          </a:p>
          <a:p>
            <a:pPr lvl="1">
              <a:buClr>
                <a:srgbClr val="009EDB"/>
              </a:buClr>
              <a:buFont typeface="System Font Regular"/>
              <a:buChar char="-"/>
              <a:defRPr/>
            </a:pPr>
            <a:r>
              <a:rPr lang="en-US" sz="1600">
                <a:latin typeface="Roboto" panose="02000000000000000000" pitchFamily="2" charset="0"/>
                <a:ea typeface="Roboto" panose="02000000000000000000" pitchFamily="2" charset="0"/>
                <a:cs typeface="Calibri"/>
              </a:rPr>
              <a:t>Planning permissions, building permits, land rights</a:t>
            </a:r>
            <a:endParaRPr lang="en-US" sz="1600">
              <a:solidFill>
                <a:srgbClr val="000000"/>
              </a:solidFill>
              <a:latin typeface="Roboto" panose="02000000000000000000" pitchFamily="2" charset="0"/>
              <a:ea typeface="Roboto" panose="02000000000000000000" pitchFamily="2" charset="0"/>
            </a:endParaRP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Environmental Impact Analysis (EIA)</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Social Impact Analysis, including human rights</a:t>
            </a:r>
          </a:p>
        </p:txBody>
      </p:sp>
      <p:sp>
        <p:nvSpPr>
          <p:cNvPr id="9" name="Text Placeholder 62">
            <a:extLst>
              <a:ext uri="{FF2B5EF4-FFF2-40B4-BE49-F238E27FC236}">
                <a16:creationId xmlns:a16="http://schemas.microsoft.com/office/drawing/2014/main" id="{AF51430A-C7C3-2D20-2B0D-6C1C92D76359}"/>
              </a:ext>
            </a:extLst>
          </p:cNvPr>
          <p:cNvSpPr txBox="1">
            <a:spLocks/>
          </p:cNvSpPr>
          <p:nvPr/>
        </p:nvSpPr>
        <p:spPr>
          <a:xfrm>
            <a:off x="1712415" y="2040506"/>
            <a:ext cx="4557756"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lang="en-US">
                <a:solidFill>
                  <a:srgbClr val="000000"/>
                </a:solidFill>
                <a:latin typeface="Roboto" panose="020B0604020202020204"/>
              </a:rPr>
              <a:t>Include the expected time to complete the following activities:</a:t>
            </a:r>
            <a:endParaRPr kumimoji="0" lang="en-US" b="0" i="0" u="none" strike="noStrike" kern="1200" cap="none" spc="0" normalizeH="0" baseline="0" noProof="0">
              <a:ln>
                <a:noFill/>
              </a:ln>
              <a:solidFill>
                <a:srgbClr val="000000"/>
              </a:solidFill>
              <a:effectLst/>
              <a:uLnTx/>
              <a:uFillTx/>
              <a:latin typeface="Roboto" panose="020B0604020202020204"/>
              <a:ea typeface="+mn-ea"/>
              <a:cs typeface="+mn-cs"/>
            </a:endParaRP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Project definition</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Project appraisal</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Project structuring</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Tender process</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Construction</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a:latin typeface="Roboto" panose="02000000000000000000" pitchFamily="2" charset="0"/>
                <a:ea typeface="Roboto" panose="02000000000000000000" pitchFamily="2" charset="0"/>
                <a:cs typeface="Calibri"/>
              </a:rPr>
              <a:t>Implementation</a:t>
            </a:r>
          </a:p>
        </p:txBody>
      </p:sp>
      <p:pic>
        <p:nvPicPr>
          <p:cNvPr id="11" name="Graphic 10">
            <a:extLst>
              <a:ext uri="{FF2B5EF4-FFF2-40B4-BE49-F238E27FC236}">
                <a16:creationId xmlns:a16="http://schemas.microsoft.com/office/drawing/2014/main" id="{F109762D-E797-9AE1-811F-E1133FC9987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0072" y="6015023"/>
            <a:ext cx="414100" cy="552133"/>
          </a:xfrm>
          <a:prstGeom prst="rect">
            <a:avLst/>
          </a:prstGeom>
        </p:spPr>
      </p:pic>
    </p:spTree>
    <p:extLst>
      <p:ext uri="{BB962C8B-B14F-4D97-AF65-F5344CB8AC3E}">
        <p14:creationId xmlns:p14="http://schemas.microsoft.com/office/powerpoint/2010/main" val="39576628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SDG Alignment</a:t>
            </a: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2784" y="1567212"/>
            <a:ext cx="400050" cy="419100"/>
          </a:xfrm>
          <a:prstGeom prst="rect">
            <a:avLst/>
          </a:prstGeom>
        </p:spPr>
      </p:pic>
      <p:pic>
        <p:nvPicPr>
          <p:cNvPr id="27" name="Picture 26" descr="A picture containing window&#10;&#10;Description automatically generated">
            <a:extLst>
              <a:ext uri="{FF2B5EF4-FFF2-40B4-BE49-F238E27FC236}">
                <a16:creationId xmlns:a16="http://schemas.microsoft.com/office/drawing/2014/main" id="{4C582C9A-5382-8AFF-4BCE-CD7F086BC7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6846" y="259546"/>
            <a:ext cx="957554" cy="957554"/>
          </a:xfrm>
          <a:prstGeom prst="rect">
            <a:avLst/>
          </a:prstGeom>
        </p:spPr>
      </p:pic>
      <p:pic>
        <p:nvPicPr>
          <p:cNvPr id="2" name="Graphic 1">
            <a:extLst>
              <a:ext uri="{FF2B5EF4-FFF2-40B4-BE49-F238E27FC236}">
                <a16:creationId xmlns:a16="http://schemas.microsoft.com/office/drawing/2014/main" id="{CDDA472B-2C90-0DDA-1985-A24281C7C5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2443" y="2216647"/>
            <a:ext cx="457201" cy="510364"/>
          </a:xfrm>
          <a:prstGeom prst="rect">
            <a:avLst/>
          </a:prstGeom>
        </p:spPr>
      </p:pic>
      <p:pic>
        <p:nvPicPr>
          <p:cNvPr id="3" name="Graphic 2">
            <a:extLst>
              <a:ext uri="{FF2B5EF4-FFF2-40B4-BE49-F238E27FC236}">
                <a16:creationId xmlns:a16="http://schemas.microsoft.com/office/drawing/2014/main" id="{53835766-EA7D-2417-246E-26F165FA25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0072" y="2946094"/>
            <a:ext cx="457200" cy="457200"/>
          </a:xfrm>
          <a:prstGeom prst="rect">
            <a:avLst/>
          </a:prstGeom>
        </p:spPr>
      </p:pic>
      <p:pic>
        <p:nvPicPr>
          <p:cNvPr id="6" name="Graphic 5">
            <a:extLst>
              <a:ext uri="{FF2B5EF4-FFF2-40B4-BE49-F238E27FC236}">
                <a16:creationId xmlns:a16="http://schemas.microsoft.com/office/drawing/2014/main" id="{6F42F767-1E07-3461-EC0E-A5FF20C41D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5338" y="3687986"/>
            <a:ext cx="470186" cy="470186"/>
          </a:xfrm>
          <a:prstGeom prst="rect">
            <a:avLst/>
          </a:prstGeom>
        </p:spPr>
      </p:pic>
      <p:pic>
        <p:nvPicPr>
          <p:cNvPr id="7" name="Graphic 6">
            <a:extLst>
              <a:ext uri="{FF2B5EF4-FFF2-40B4-BE49-F238E27FC236}">
                <a16:creationId xmlns:a16="http://schemas.microsoft.com/office/drawing/2014/main" id="{96DE627F-01B2-82D2-9431-8EDB210E986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0526" y="4475077"/>
            <a:ext cx="496746" cy="496746"/>
          </a:xfrm>
          <a:prstGeom prst="rect">
            <a:avLst/>
          </a:prstGeom>
        </p:spPr>
      </p:pic>
      <p:sp>
        <p:nvSpPr>
          <p:cNvPr id="9" name="Text Placeholder 62">
            <a:extLst>
              <a:ext uri="{FF2B5EF4-FFF2-40B4-BE49-F238E27FC236}">
                <a16:creationId xmlns:a16="http://schemas.microsoft.com/office/drawing/2014/main" id="{AF51430A-C7C3-2D20-2B0D-6C1C92D76359}"/>
              </a:ext>
            </a:extLst>
          </p:cNvPr>
          <p:cNvSpPr txBox="1">
            <a:spLocks/>
          </p:cNvSpPr>
          <p:nvPr/>
        </p:nvSpPr>
        <p:spPr>
          <a:xfrm>
            <a:off x="1644818" y="2029781"/>
            <a:ext cx="9999786"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EDB"/>
              </a:buClr>
              <a:defRPr/>
            </a:pPr>
            <a:r>
              <a:rPr lang="en-US" dirty="0">
                <a:solidFill>
                  <a:srgbClr val="000000"/>
                </a:solidFill>
                <a:latin typeface="Roboto" panose="02000000000000000000" pitchFamily="2" charset="0"/>
                <a:ea typeface="Roboto" panose="02000000000000000000" pitchFamily="2" charset="0"/>
              </a:rPr>
              <a:t>Project must align with the SDG goals.</a:t>
            </a:r>
            <a:endParaRPr kumimoji="0" lang="en-US"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endParaRPr>
          </a:p>
          <a:p>
            <a:pPr lvl="1">
              <a:buClr>
                <a:srgbClr val="009EDB"/>
              </a:buClr>
              <a:buFont typeface="System Font Regular"/>
              <a:buChar char="-"/>
              <a:defRPr/>
            </a:pPr>
            <a:r>
              <a:rPr lang="en-GB" sz="1600" dirty="0">
                <a:latin typeface="Roboto" panose="02000000000000000000" pitchFamily="2" charset="0"/>
                <a:ea typeface="Roboto" panose="02000000000000000000" pitchFamily="2" charset="0"/>
              </a:rPr>
              <a:t>Projects should contribute to the Sustainable Development Goals. It is critical that you explain how the project will advance specific SDGs</a:t>
            </a:r>
            <a:r>
              <a:rPr lang="en-GB" sz="1600" dirty="0">
                <a:latin typeface="Roboto" panose="02000000000000000000" pitchFamily="2" charset="0"/>
                <a:ea typeface="Roboto" panose="02000000000000000000" pitchFamily="2" charset="0"/>
                <a:cs typeface="Calibri"/>
              </a:rPr>
              <a:t>.</a:t>
            </a:r>
            <a:endParaRPr lang="en-US" sz="1600" dirty="0">
              <a:solidFill>
                <a:srgbClr val="000000"/>
              </a:solidFill>
              <a:latin typeface="Roboto" panose="02000000000000000000" pitchFamily="2" charset="0"/>
              <a:ea typeface="Roboto" panose="02000000000000000000" pitchFamily="2" charset="0"/>
              <a:cs typeface="Calibri"/>
            </a:endParaRPr>
          </a:p>
          <a:p>
            <a:pPr lvl="1">
              <a:buClr>
                <a:srgbClr val="009EDB"/>
              </a:buClr>
              <a:buFont typeface="System Font Regular"/>
              <a:buChar char="-"/>
              <a:defRPr/>
            </a:pPr>
            <a:r>
              <a:rPr lang="en-GB" sz="1600" dirty="0">
                <a:latin typeface="Roboto" panose="02000000000000000000" pitchFamily="2" charset="0"/>
                <a:ea typeface="Roboto" panose="02000000000000000000" pitchFamily="2" charset="0"/>
              </a:rPr>
              <a:t>Briefly describe how the project will impact people's lives by bringing clean water, alleviating health problems, heating homes, etc</a:t>
            </a:r>
            <a:r>
              <a:rPr lang="en-GB" sz="1600" dirty="0">
                <a:latin typeface="Roboto" panose="02000000000000000000" pitchFamily="2" charset="0"/>
                <a:ea typeface="Roboto" panose="02000000000000000000" pitchFamily="2" charset="0"/>
                <a:cs typeface="Calibri"/>
              </a:rPr>
              <a:t>. </a:t>
            </a:r>
            <a:endParaRPr lang="en-US" sz="1600" dirty="0">
              <a:solidFill>
                <a:srgbClr val="000000"/>
              </a:solidFill>
              <a:latin typeface="Roboto" panose="02000000000000000000" pitchFamily="2" charset="0"/>
              <a:ea typeface="Roboto" panose="02000000000000000000" pitchFamily="2" charset="0"/>
              <a:cs typeface="Calibri"/>
            </a:endParaRPr>
          </a:p>
          <a:p>
            <a:pPr lvl="1">
              <a:buClr>
                <a:srgbClr val="009EDB"/>
              </a:buClr>
              <a:buFont typeface="System Font Regular"/>
              <a:buChar char="-"/>
              <a:defRPr/>
            </a:pPr>
            <a:r>
              <a:rPr lang="en-GB" sz="1600" dirty="0">
                <a:latin typeface="Roboto" panose="02000000000000000000" pitchFamily="2" charset="0"/>
                <a:ea typeface="Roboto" panose="02000000000000000000" pitchFamily="2" charset="0"/>
              </a:rPr>
              <a:t>From an operational perspective, you should be able to guide investors through the milestones of the project and help them understand when and where the development impact occurs.</a:t>
            </a:r>
            <a:endParaRPr lang="en-US" sz="1600" dirty="0">
              <a:solidFill>
                <a:srgbClr val="000000"/>
              </a:solidFill>
              <a:latin typeface="Roboto" panose="02000000000000000000" pitchFamily="2" charset="0"/>
              <a:ea typeface="Roboto" panose="02000000000000000000" pitchFamily="2" charset="0"/>
              <a:cs typeface="Calibri"/>
            </a:endParaRPr>
          </a:p>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lang="en-US" sz="1800" dirty="0">
              <a:latin typeface="Roboto" panose="02000000000000000000" pitchFamily="2" charset="0"/>
              <a:ea typeface="Roboto" panose="02000000000000000000" pitchFamily="2" charset="0"/>
              <a:cs typeface="Calibri"/>
            </a:endParaRPr>
          </a:p>
        </p:txBody>
      </p:sp>
      <p:pic>
        <p:nvPicPr>
          <p:cNvPr id="11" name="Graphic 10">
            <a:extLst>
              <a:ext uri="{FF2B5EF4-FFF2-40B4-BE49-F238E27FC236}">
                <a16:creationId xmlns:a16="http://schemas.microsoft.com/office/drawing/2014/main" id="{F109762D-E797-9AE1-811F-E1133FC9987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2150" y="5207746"/>
            <a:ext cx="445451" cy="593935"/>
          </a:xfrm>
          <a:prstGeom prst="rect">
            <a:avLst/>
          </a:prstGeom>
        </p:spPr>
      </p:pic>
      <p:pic>
        <p:nvPicPr>
          <p:cNvPr id="12" name="Graphic 11">
            <a:extLst>
              <a:ext uri="{FF2B5EF4-FFF2-40B4-BE49-F238E27FC236}">
                <a16:creationId xmlns:a16="http://schemas.microsoft.com/office/drawing/2014/main" id="{AA0D8CEA-663B-0F7E-17FE-082948B53D4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0299" y="6049652"/>
            <a:ext cx="496746" cy="496746"/>
          </a:xfrm>
          <a:prstGeom prst="rect">
            <a:avLst/>
          </a:prstGeom>
        </p:spPr>
      </p:pic>
    </p:spTree>
    <p:extLst>
      <p:ext uri="{BB962C8B-B14F-4D97-AF65-F5344CB8AC3E}">
        <p14:creationId xmlns:p14="http://schemas.microsoft.com/office/powerpoint/2010/main" val="5798082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rgbClr val="000000"/>
                </a:solidFill>
                <a:latin typeface="Roboto" panose="020B0604020202020204"/>
              </a:rPr>
              <a:t>Conclusions/Takeaways</a:t>
            </a:r>
            <a:endParaRPr kumimoji="0" lang="en-US" sz="6000" b="1" i="0" u="none" strike="noStrike" kern="1200" cap="none" spc="0" normalizeH="0" baseline="0" noProof="0">
              <a:ln>
                <a:noFill/>
              </a:ln>
              <a:solidFill>
                <a:srgbClr val="000000"/>
              </a:solidFill>
              <a:effectLst/>
              <a:uLnTx/>
              <a:uFillTx/>
              <a:latin typeface="Roboto" panose="020B0604020202020204"/>
              <a:ea typeface="+mj-ea"/>
              <a:cs typeface="+mj-cs"/>
            </a:endParaRP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0342" y="404419"/>
            <a:ext cx="737689" cy="772817"/>
          </a:xfrm>
          <a:prstGeom prst="rect">
            <a:avLst/>
          </a:prstGeom>
        </p:spPr>
      </p:pic>
      <p:pic>
        <p:nvPicPr>
          <p:cNvPr id="2" name="Graphic 1">
            <a:extLst>
              <a:ext uri="{FF2B5EF4-FFF2-40B4-BE49-F238E27FC236}">
                <a16:creationId xmlns:a16="http://schemas.microsoft.com/office/drawing/2014/main" id="{CDDA472B-2C90-0DDA-1985-A24281C7C5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2443" y="1647476"/>
            <a:ext cx="457201" cy="510364"/>
          </a:xfrm>
          <a:prstGeom prst="rect">
            <a:avLst/>
          </a:prstGeom>
        </p:spPr>
      </p:pic>
      <p:pic>
        <p:nvPicPr>
          <p:cNvPr id="3" name="Graphic 2">
            <a:extLst>
              <a:ext uri="{FF2B5EF4-FFF2-40B4-BE49-F238E27FC236}">
                <a16:creationId xmlns:a16="http://schemas.microsoft.com/office/drawing/2014/main" id="{53835766-EA7D-2417-246E-26F165FA25E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0072" y="2367594"/>
            <a:ext cx="457200" cy="457200"/>
          </a:xfrm>
          <a:prstGeom prst="rect">
            <a:avLst/>
          </a:prstGeom>
        </p:spPr>
      </p:pic>
      <p:pic>
        <p:nvPicPr>
          <p:cNvPr id="6" name="Graphic 5">
            <a:extLst>
              <a:ext uri="{FF2B5EF4-FFF2-40B4-BE49-F238E27FC236}">
                <a16:creationId xmlns:a16="http://schemas.microsoft.com/office/drawing/2014/main" id="{6F42F767-1E07-3461-EC0E-A5FF20C41D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5338" y="3109486"/>
            <a:ext cx="470186" cy="470186"/>
          </a:xfrm>
          <a:prstGeom prst="rect">
            <a:avLst/>
          </a:prstGeom>
        </p:spPr>
      </p:pic>
      <p:pic>
        <p:nvPicPr>
          <p:cNvPr id="7" name="Graphic 6">
            <a:extLst>
              <a:ext uri="{FF2B5EF4-FFF2-40B4-BE49-F238E27FC236}">
                <a16:creationId xmlns:a16="http://schemas.microsoft.com/office/drawing/2014/main" id="{96DE627F-01B2-82D2-9431-8EDB210E986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0526" y="3896577"/>
            <a:ext cx="496746" cy="496746"/>
          </a:xfrm>
          <a:prstGeom prst="rect">
            <a:avLst/>
          </a:prstGeom>
        </p:spPr>
      </p:pic>
      <p:pic>
        <p:nvPicPr>
          <p:cNvPr id="11" name="Graphic 10">
            <a:extLst>
              <a:ext uri="{FF2B5EF4-FFF2-40B4-BE49-F238E27FC236}">
                <a16:creationId xmlns:a16="http://schemas.microsoft.com/office/drawing/2014/main" id="{F109762D-E797-9AE1-811F-E1133FC998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2150" y="4619414"/>
            <a:ext cx="445451" cy="593935"/>
          </a:xfrm>
          <a:prstGeom prst="rect">
            <a:avLst/>
          </a:prstGeom>
        </p:spPr>
      </p:pic>
      <p:pic>
        <p:nvPicPr>
          <p:cNvPr id="12" name="Graphic 11">
            <a:extLst>
              <a:ext uri="{FF2B5EF4-FFF2-40B4-BE49-F238E27FC236}">
                <a16:creationId xmlns:a16="http://schemas.microsoft.com/office/drawing/2014/main" id="{AA0D8CEA-663B-0F7E-17FE-082948B53D4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0299" y="5451488"/>
            <a:ext cx="496746" cy="496746"/>
          </a:xfrm>
          <a:prstGeom prst="rect">
            <a:avLst/>
          </a:prstGeom>
        </p:spPr>
      </p:pic>
      <p:pic>
        <p:nvPicPr>
          <p:cNvPr id="8" name="Picture 7" descr="A picture containing window&#10;&#10;Description automatically generated">
            <a:extLst>
              <a:ext uri="{FF2B5EF4-FFF2-40B4-BE49-F238E27FC236}">
                <a16:creationId xmlns:a16="http://schemas.microsoft.com/office/drawing/2014/main" id="{F1C5E17B-FFB3-B35D-6F23-089D44FB9F2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80694" y="6160364"/>
            <a:ext cx="609958" cy="609958"/>
          </a:xfrm>
          <a:prstGeom prst="rect">
            <a:avLst/>
          </a:prstGeom>
        </p:spPr>
      </p:pic>
      <p:graphicFrame>
        <p:nvGraphicFramePr>
          <p:cNvPr id="33" name="Text Placeholder 62">
            <a:extLst>
              <a:ext uri="{FF2B5EF4-FFF2-40B4-BE49-F238E27FC236}">
                <a16:creationId xmlns:a16="http://schemas.microsoft.com/office/drawing/2014/main" id="{FD6511E1-AA8B-5182-ED06-578B4BDBF49F}"/>
              </a:ext>
            </a:extLst>
          </p:cNvPr>
          <p:cNvGraphicFramePr/>
          <p:nvPr>
            <p:extLst>
              <p:ext uri="{D42A27DB-BD31-4B8C-83A1-F6EECF244321}">
                <p14:modId xmlns:p14="http://schemas.microsoft.com/office/powerpoint/2010/main" val="2049724482"/>
              </p:ext>
            </p:extLst>
          </p:nvPr>
        </p:nvGraphicFramePr>
        <p:xfrm>
          <a:off x="1644818" y="2029781"/>
          <a:ext cx="9999786" cy="37764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pic>
        <p:nvPicPr>
          <p:cNvPr id="14" name="Graphic 13" descr="Upward trend with solid fill">
            <a:extLst>
              <a:ext uri="{FF2B5EF4-FFF2-40B4-BE49-F238E27FC236}">
                <a16:creationId xmlns:a16="http://schemas.microsoft.com/office/drawing/2014/main" id="{18039D9E-4341-BD90-0907-2E7ED4C7BD2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709285" y="2824794"/>
            <a:ext cx="914400" cy="914400"/>
          </a:xfrm>
          <a:prstGeom prst="rect">
            <a:avLst/>
          </a:prstGeom>
        </p:spPr>
      </p:pic>
      <p:pic>
        <p:nvPicPr>
          <p:cNvPr id="16" name="Graphic 15" descr="Questions with solid fill">
            <a:extLst>
              <a:ext uri="{FF2B5EF4-FFF2-40B4-BE49-F238E27FC236}">
                <a16:creationId xmlns:a16="http://schemas.microsoft.com/office/drawing/2014/main" id="{102BF9C0-758F-29E8-24DC-EF52B90395B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632782" y="2824794"/>
            <a:ext cx="914400" cy="914400"/>
          </a:xfrm>
          <a:prstGeom prst="rect">
            <a:avLst/>
          </a:prstGeom>
        </p:spPr>
      </p:pic>
      <p:pic>
        <p:nvPicPr>
          <p:cNvPr id="18" name="Graphic 17" descr="Handshake with solid fill">
            <a:extLst>
              <a:ext uri="{FF2B5EF4-FFF2-40B4-BE49-F238E27FC236}">
                <a16:creationId xmlns:a16="http://schemas.microsoft.com/office/drawing/2014/main" id="{BD9D7205-3B44-08CA-22B4-E2C0B581F7E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187511" y="2824794"/>
            <a:ext cx="914400" cy="914400"/>
          </a:xfrm>
          <a:prstGeom prst="rect">
            <a:avLst/>
          </a:prstGeom>
        </p:spPr>
      </p:pic>
    </p:spTree>
    <p:extLst>
      <p:ext uri="{BB962C8B-B14F-4D97-AF65-F5344CB8AC3E}">
        <p14:creationId xmlns:p14="http://schemas.microsoft.com/office/powerpoint/2010/main" val="37246599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EC4C4B-38E2-7090-E2ED-22FF4CA0ACE4}"/>
              </a:ext>
            </a:extLst>
          </p:cNvPr>
          <p:cNvGraphicFramePr>
            <a:graphicFrameLocks noChangeAspect="1"/>
          </p:cNvGraphicFramePr>
          <p:nvPr>
            <p:custDataLst>
              <p:tags r:id="rId1"/>
            </p:custDataLst>
            <p:extLst>
              <p:ext uri="{D42A27DB-BD31-4B8C-83A1-F6EECF244321}">
                <p14:modId xmlns:p14="http://schemas.microsoft.com/office/powerpoint/2010/main" val="11490738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97EC4C4B-38E2-7090-E2ED-22FF4CA0AC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a:defRPr/>
            </a:pPr>
            <a:r>
              <a:rPr lang="en-US">
                <a:solidFill>
                  <a:srgbClr val="000000"/>
                </a:solidFill>
                <a:latin typeface="Roboto" panose="020B0604020202020204"/>
              </a:rPr>
              <a:t>Ready to go!</a:t>
            </a:r>
            <a:endParaRPr kumimoji="0" lang="en-US" sz="6000" b="1" i="0" u="none" strike="noStrike" kern="1200" cap="none" spc="0" normalizeH="0" baseline="0" noProof="0">
              <a:ln>
                <a:noFill/>
              </a:ln>
              <a:solidFill>
                <a:srgbClr val="000000"/>
              </a:solidFill>
              <a:effectLst/>
              <a:uLnTx/>
              <a:uFillTx/>
              <a:latin typeface="Roboto" panose="020B0604020202020204"/>
              <a:ea typeface="+mj-ea"/>
              <a:cs typeface="+mj-cs"/>
            </a:endParaRP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9" name="Graphic 8">
            <a:extLst>
              <a:ext uri="{FF2B5EF4-FFF2-40B4-BE49-F238E27FC236}">
                <a16:creationId xmlns:a16="http://schemas.microsoft.com/office/drawing/2014/main" id="{1C2F7093-9340-CB1C-D826-A73140272A4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8639" y="2277171"/>
            <a:ext cx="457200" cy="457200"/>
          </a:xfrm>
          <a:prstGeom prst="rect">
            <a:avLst/>
          </a:prstGeom>
        </p:spPr>
      </p:pic>
      <p:pic>
        <p:nvPicPr>
          <p:cNvPr id="14" name="Graphic 13">
            <a:extLst>
              <a:ext uri="{FF2B5EF4-FFF2-40B4-BE49-F238E27FC236}">
                <a16:creationId xmlns:a16="http://schemas.microsoft.com/office/drawing/2014/main" id="{0234DFED-8941-888E-EA30-D45C0F15B50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9401" y="1454643"/>
            <a:ext cx="457200" cy="457200"/>
          </a:xfrm>
          <a:prstGeom prst="rect">
            <a:avLst/>
          </a:prstGeom>
        </p:spPr>
      </p:pic>
      <p:pic>
        <p:nvPicPr>
          <p:cNvPr id="15" name="Graphic 14">
            <a:extLst>
              <a:ext uri="{FF2B5EF4-FFF2-40B4-BE49-F238E27FC236}">
                <a16:creationId xmlns:a16="http://schemas.microsoft.com/office/drawing/2014/main" id="{84F33C59-6263-A95B-0774-7A5FF0A2279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5136" y="3895103"/>
            <a:ext cx="342900" cy="457200"/>
          </a:xfrm>
          <a:prstGeom prst="rect">
            <a:avLst/>
          </a:prstGeom>
        </p:spPr>
      </p:pic>
      <p:pic>
        <p:nvPicPr>
          <p:cNvPr id="16" name="Graphic 15">
            <a:extLst>
              <a:ext uri="{FF2B5EF4-FFF2-40B4-BE49-F238E27FC236}">
                <a16:creationId xmlns:a16="http://schemas.microsoft.com/office/drawing/2014/main" id="{BAED255D-2965-1B93-A3A2-5DFFD003BC3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7986" y="4642722"/>
            <a:ext cx="457200" cy="457200"/>
          </a:xfrm>
          <a:prstGeom prst="rect">
            <a:avLst/>
          </a:prstGeom>
        </p:spPr>
      </p:pic>
      <p:pic>
        <p:nvPicPr>
          <p:cNvPr id="17" name="Graphic 16">
            <a:extLst>
              <a:ext uri="{FF2B5EF4-FFF2-40B4-BE49-F238E27FC236}">
                <a16:creationId xmlns:a16="http://schemas.microsoft.com/office/drawing/2014/main" id="{64551933-E210-14DC-1E46-E284ECFB87D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8639" y="3125324"/>
            <a:ext cx="457200" cy="457200"/>
          </a:xfrm>
          <a:prstGeom prst="rect">
            <a:avLst/>
          </a:prstGeom>
        </p:spPr>
      </p:pic>
      <p:pic>
        <p:nvPicPr>
          <p:cNvPr id="18" name="Graphic 17">
            <a:extLst>
              <a:ext uri="{FF2B5EF4-FFF2-40B4-BE49-F238E27FC236}">
                <a16:creationId xmlns:a16="http://schemas.microsoft.com/office/drawing/2014/main" id="{EDEEB769-23E6-0AA4-85C0-F5E554FC664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15136" y="565206"/>
            <a:ext cx="431465" cy="481635"/>
          </a:xfrm>
          <a:prstGeom prst="rect">
            <a:avLst/>
          </a:prstGeom>
        </p:spPr>
      </p:pic>
      <p:pic>
        <p:nvPicPr>
          <p:cNvPr id="19" name="Graphic 18">
            <a:extLst>
              <a:ext uri="{FF2B5EF4-FFF2-40B4-BE49-F238E27FC236}">
                <a16:creationId xmlns:a16="http://schemas.microsoft.com/office/drawing/2014/main" id="{6C53887F-38EB-3386-E4C3-4BB79410BC7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51211" y="6167856"/>
            <a:ext cx="400050" cy="419100"/>
          </a:xfrm>
          <a:prstGeom prst="rect">
            <a:avLst/>
          </a:prstGeom>
        </p:spPr>
      </p:pic>
      <p:pic>
        <p:nvPicPr>
          <p:cNvPr id="20" name="Picture 19" descr="A picture containing window&#10;&#10;Description automatically generated">
            <a:extLst>
              <a:ext uri="{FF2B5EF4-FFF2-40B4-BE49-F238E27FC236}">
                <a16:creationId xmlns:a16="http://schemas.microsoft.com/office/drawing/2014/main" id="{3689EDE9-0E94-8209-64A6-4DF7D10F8F76}"/>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51211" y="5401598"/>
            <a:ext cx="457201" cy="457201"/>
          </a:xfrm>
          <a:prstGeom prst="rect">
            <a:avLst/>
          </a:prstGeom>
        </p:spPr>
      </p:pic>
      <p:sp>
        <p:nvSpPr>
          <p:cNvPr id="22" name="Rectangle 21">
            <a:extLst>
              <a:ext uri="{FF2B5EF4-FFF2-40B4-BE49-F238E27FC236}">
                <a16:creationId xmlns:a16="http://schemas.microsoft.com/office/drawing/2014/main" id="{EB3B2CD0-410B-5871-132E-FEF5644AA8AB}"/>
              </a:ext>
            </a:extLst>
          </p:cNvPr>
          <p:cNvSpPr/>
          <p:nvPr/>
        </p:nvSpPr>
        <p:spPr>
          <a:xfrm>
            <a:off x="1203538" y="-1"/>
            <a:ext cx="826183" cy="67252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036718AF-A178-B3B3-6EC2-54C59BC13548}"/>
              </a:ext>
            </a:extLst>
          </p:cNvPr>
          <p:cNvSpPr/>
          <p:nvPr/>
        </p:nvSpPr>
        <p:spPr>
          <a:xfrm>
            <a:off x="1726337" y="2477280"/>
            <a:ext cx="9382539" cy="2249413"/>
          </a:xfrm>
          <a:prstGeom prst="rect">
            <a:avLst/>
          </a:prstGeom>
          <a:noFill/>
          <a:ln>
            <a:solidFill>
              <a:srgbClr val="009ED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62">
            <a:extLst>
              <a:ext uri="{FF2B5EF4-FFF2-40B4-BE49-F238E27FC236}">
                <a16:creationId xmlns:a16="http://schemas.microsoft.com/office/drawing/2014/main" id="{0A4E0E06-0DAD-610B-B90D-EC3E0A6FD060}"/>
              </a:ext>
            </a:extLst>
          </p:cNvPr>
          <p:cNvSpPr txBox="1">
            <a:spLocks/>
          </p:cNvSpPr>
          <p:nvPr/>
        </p:nvSpPr>
        <p:spPr>
          <a:xfrm>
            <a:off x="2304094" y="2934199"/>
            <a:ext cx="9999786" cy="144188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rgbClr val="009EDB"/>
              </a:buClr>
              <a:buFont typeface="Arial" panose="020B0604020202020204" pitchFamily="34" charset="0"/>
              <a:buChar char="•"/>
              <a:defRPr/>
            </a:pPr>
            <a:r>
              <a:rPr lang="en-US">
                <a:solidFill>
                  <a:srgbClr val="000000"/>
                </a:solidFill>
                <a:latin typeface="Roboto" panose="02000000000000000000" pitchFamily="2" charset="0"/>
                <a:ea typeface="Roboto" panose="02000000000000000000" pitchFamily="2" charset="0"/>
              </a:rPr>
              <a:t>Please follow these steps to make your presentation.</a:t>
            </a:r>
          </a:p>
          <a:p>
            <a:pPr marL="285750" indent="-285750">
              <a:buClr>
                <a:srgbClr val="009EDB"/>
              </a:buClr>
              <a:buFont typeface="Arial" panose="020B0604020202020204" pitchFamily="34" charset="0"/>
              <a:buChar char="•"/>
              <a:defRPr/>
            </a:pPr>
            <a:r>
              <a:rPr lang="en-US" sz="1800">
                <a:solidFill>
                  <a:srgbClr val="000000"/>
                </a:solidFill>
                <a:latin typeface="Roboto" panose="02000000000000000000" pitchFamily="2" charset="0"/>
                <a:ea typeface="Roboto" panose="02000000000000000000" pitchFamily="2" charset="0"/>
                <a:cs typeface="Calibri"/>
              </a:rPr>
              <a:t>Remember to include contact information for poss</a:t>
            </a:r>
            <a:r>
              <a:rPr lang="en-US">
                <a:solidFill>
                  <a:srgbClr val="000000"/>
                </a:solidFill>
                <a:latin typeface="Roboto" panose="02000000000000000000" pitchFamily="2" charset="0"/>
                <a:ea typeface="Roboto" panose="02000000000000000000" pitchFamily="2" charset="0"/>
                <a:cs typeface="Calibri"/>
              </a:rPr>
              <a:t>ible investors.</a:t>
            </a:r>
          </a:p>
          <a:p>
            <a:pPr marL="285750" indent="-285750">
              <a:buClr>
                <a:srgbClr val="009EDB"/>
              </a:buClr>
              <a:buFont typeface="Arial" panose="020B0604020202020204" pitchFamily="34" charset="0"/>
              <a:buChar char="•"/>
              <a:defRPr/>
            </a:pPr>
            <a:r>
              <a:rPr lang="en-US">
                <a:solidFill>
                  <a:srgbClr val="000000"/>
                </a:solidFill>
                <a:latin typeface="Roboto" panose="02000000000000000000" pitchFamily="2" charset="0"/>
                <a:ea typeface="Roboto" panose="02000000000000000000" pitchFamily="2" charset="0"/>
                <a:cs typeface="Calibri"/>
              </a:rPr>
              <a:t>Feel free to contact us if you have any doubts.</a:t>
            </a:r>
          </a:p>
          <a:p>
            <a:pPr marL="285750" indent="-285750">
              <a:buClr>
                <a:srgbClr val="009EDB"/>
              </a:buClr>
              <a:buFont typeface="Arial" panose="020B0604020202020204" pitchFamily="34" charset="0"/>
              <a:buChar char="•"/>
              <a:defRPr/>
            </a:pPr>
            <a:endParaRPr lang="en-US" sz="1800">
              <a:latin typeface="Roboto" panose="02000000000000000000" pitchFamily="2" charset="0"/>
              <a:ea typeface="Roboto" panose="02000000000000000000" pitchFamily="2" charset="0"/>
              <a:cs typeface="Calibri"/>
            </a:endParaRPr>
          </a:p>
        </p:txBody>
      </p:sp>
    </p:spTree>
    <p:extLst>
      <p:ext uri="{BB962C8B-B14F-4D97-AF65-F5344CB8AC3E}">
        <p14:creationId xmlns:p14="http://schemas.microsoft.com/office/powerpoint/2010/main" val="2259650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6906BC-B97F-4EEB-9631-5A3767230C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53747"/>
            <a:ext cx="12192000" cy="5480727"/>
          </a:xfrm>
          <a:prstGeom prst="rect">
            <a:avLst/>
          </a:prstGeom>
        </p:spPr>
      </p:pic>
      <p:pic>
        <p:nvPicPr>
          <p:cNvPr id="7" name="Graphic 6">
            <a:extLst>
              <a:ext uri="{FF2B5EF4-FFF2-40B4-BE49-F238E27FC236}">
                <a16:creationId xmlns:a16="http://schemas.microsoft.com/office/drawing/2014/main" id="{000B9CB6-7C68-4FF4-AD92-0DDB4C1A51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0701" y="506228"/>
            <a:ext cx="3617210" cy="655688"/>
          </a:xfrm>
          <a:prstGeom prst="rect">
            <a:avLst/>
          </a:prstGeom>
        </p:spPr>
      </p:pic>
      <p:sp>
        <p:nvSpPr>
          <p:cNvPr id="6" name="TextBox 5">
            <a:extLst>
              <a:ext uri="{FF2B5EF4-FFF2-40B4-BE49-F238E27FC236}">
                <a16:creationId xmlns:a16="http://schemas.microsoft.com/office/drawing/2014/main" id="{1F55CDF7-2F8F-445E-9283-E6EF7DCC6B63}"/>
              </a:ext>
            </a:extLst>
          </p:cNvPr>
          <p:cNvSpPr txBox="1"/>
          <p:nvPr/>
        </p:nvSpPr>
        <p:spPr>
          <a:xfrm>
            <a:off x="1436913" y="4076417"/>
            <a:ext cx="5936343" cy="1477328"/>
          </a:xfrm>
          <a:prstGeom prst="rect">
            <a:avLst/>
          </a:prstGeom>
          <a:noFill/>
        </p:spPr>
        <p:txBody>
          <a:bodyPr wrap="square" rtlCol="0">
            <a:spAutoFit/>
          </a:bodyPr>
          <a:lstStyle/>
          <a:p>
            <a:r>
              <a:rPr lang="en-US" sz="7200" b="1">
                <a:solidFill>
                  <a:schemeClr val="bg1"/>
                </a:solidFill>
                <a:latin typeface="Montserrat" panose="00000500000000000000"/>
                <a:ea typeface="Roboto" panose="02000000000000000000" pitchFamily="2" charset="0"/>
                <a:cs typeface="Raavi" panose="020B0502040204020203" pitchFamily="34" charset="0"/>
              </a:rPr>
              <a:t>Thank you.</a:t>
            </a:r>
          </a:p>
          <a:p>
            <a:endParaRPr lang="en-US"/>
          </a:p>
        </p:txBody>
      </p:sp>
      <p:pic>
        <p:nvPicPr>
          <p:cNvPr id="2" name="Picture 1" descr="A picture containing application&#10;&#10;Description automatically generated">
            <a:extLst>
              <a:ext uri="{FF2B5EF4-FFF2-40B4-BE49-F238E27FC236}">
                <a16:creationId xmlns:a16="http://schemas.microsoft.com/office/drawing/2014/main" id="{168BBC46-9B53-38CB-D1FF-8C80B1578E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41852" y="-821098"/>
            <a:ext cx="5144309" cy="3329026"/>
          </a:xfrm>
          <a:prstGeom prst="rect">
            <a:avLst/>
          </a:prstGeom>
        </p:spPr>
      </p:pic>
    </p:spTree>
    <p:extLst>
      <p:ext uri="{BB962C8B-B14F-4D97-AF65-F5344CB8AC3E}">
        <p14:creationId xmlns:p14="http://schemas.microsoft.com/office/powerpoint/2010/main" val="482847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F68DE18-AB23-427D-9D16-FB6D405FA98F}"/>
              </a:ext>
            </a:extLst>
          </p:cNvPr>
          <p:cNvGrpSpPr/>
          <p:nvPr/>
        </p:nvGrpSpPr>
        <p:grpSpPr>
          <a:xfrm>
            <a:off x="-9312" y="-83900"/>
            <a:ext cx="12201312" cy="6868484"/>
            <a:chOff x="-9312" y="-5242"/>
            <a:chExt cx="12201312" cy="6868484"/>
          </a:xfrm>
        </p:grpSpPr>
        <p:pic>
          <p:nvPicPr>
            <p:cNvPr id="14" name="Picture 13">
              <a:extLst>
                <a:ext uri="{FF2B5EF4-FFF2-40B4-BE49-F238E27FC236}">
                  <a16:creationId xmlns:a16="http://schemas.microsoft.com/office/drawing/2014/main" id="{1B9697E2-EEE3-484D-A5F1-3BA85BCE2746}"/>
                </a:ext>
              </a:extLst>
            </p:cNvPr>
            <p:cNvPicPr>
              <a:picLocks noChangeAspect="1"/>
            </p:cNvPicPr>
            <p:nvPr/>
          </p:nvPicPr>
          <p:blipFill rotWithShape="1">
            <a:blip r:embed="rId2">
              <a:extLst>
                <a:ext uri="{28A0092B-C50C-407E-A947-70E740481C1C}">
                  <a14:useLocalDpi xmlns:a14="http://schemas.microsoft.com/office/drawing/2010/main" val="0"/>
                </a:ext>
              </a:extLst>
            </a:blip>
            <a:srcRect l="1899" t="7292" b="3494"/>
            <a:stretch/>
          </p:blipFill>
          <p:spPr>
            <a:xfrm>
              <a:off x="-9312" y="-5242"/>
              <a:ext cx="12201312" cy="6868484"/>
            </a:xfrm>
            <a:prstGeom prst="rect">
              <a:avLst/>
            </a:prstGeom>
          </p:spPr>
        </p:pic>
        <p:sp>
          <p:nvSpPr>
            <p:cNvPr id="2" name="TextBox 1">
              <a:extLst>
                <a:ext uri="{FF2B5EF4-FFF2-40B4-BE49-F238E27FC236}">
                  <a16:creationId xmlns:a16="http://schemas.microsoft.com/office/drawing/2014/main" id="{3C3D9F06-9E68-4223-B766-1669CC453D11}"/>
                </a:ext>
              </a:extLst>
            </p:cNvPr>
            <p:cNvSpPr txBox="1"/>
            <p:nvPr/>
          </p:nvSpPr>
          <p:spPr>
            <a:xfrm>
              <a:off x="1536699" y="6337300"/>
              <a:ext cx="5343072" cy="323165"/>
            </a:xfrm>
            <a:prstGeom prst="rect">
              <a:avLst/>
            </a:prstGeom>
            <a:solidFill>
              <a:schemeClr val="bg1"/>
            </a:solidFill>
          </p:spPr>
          <p:txBody>
            <a:bodyPr wrap="square" rtlCol="0">
              <a:spAutoFit/>
            </a:bodyPr>
            <a:lstStyle/>
            <a:p>
              <a:pPr>
                <a:spcAft>
                  <a:spcPts val="1800"/>
                </a:spcAft>
              </a:pPr>
              <a:r>
                <a:rPr lang="en-US" sz="1500" b="1" spc="-50">
                  <a:latin typeface="Roboto" panose="02000000000000000000" pitchFamily="2" charset="0"/>
                  <a:ea typeface="Roboto" panose="02000000000000000000" pitchFamily="2" charset="0"/>
                </a:rPr>
                <a:t>Financing for Sustainable Development Office</a:t>
              </a:r>
            </a:p>
          </p:txBody>
        </p:sp>
      </p:grpSp>
      <p:sp>
        <p:nvSpPr>
          <p:cNvPr id="8" name="Rectangle 7">
            <a:extLst>
              <a:ext uri="{FF2B5EF4-FFF2-40B4-BE49-F238E27FC236}">
                <a16:creationId xmlns:a16="http://schemas.microsoft.com/office/drawing/2014/main" id="{64FA9D37-9FC0-439A-9F9D-3EDA4368ECC3}"/>
              </a:ext>
            </a:extLst>
          </p:cNvPr>
          <p:cNvSpPr/>
          <p:nvPr/>
        </p:nvSpPr>
        <p:spPr>
          <a:xfrm>
            <a:off x="1311442" y="977531"/>
            <a:ext cx="878305" cy="2746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1788" y="5876699"/>
            <a:ext cx="1867409" cy="1208453"/>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582786" y="558559"/>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Background</a:t>
            </a: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582786" y="1543050"/>
            <a:ext cx="10380453" cy="4130872"/>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GB" dirty="0">
                <a:latin typeface="Roboto" panose="02000000000000000000" pitchFamily="2" charset="0"/>
                <a:ea typeface="Roboto" panose="02000000000000000000" pitchFamily="2" charset="0"/>
                <a:cs typeface="Roboto" panose="02000000000000000000" pitchFamily="2" charset="0"/>
              </a:rPr>
              <a:t>A project presentation is invaluable to attracting the interest of investors. Three keys to a good presentation are:</a:t>
            </a:r>
            <a:endParaRPr lang="en-US" sz="1400" dirty="0">
              <a:latin typeface="Roboto" panose="02000000000000000000" pitchFamily="2" charset="0"/>
              <a:ea typeface="Roboto" panose="02000000000000000000" pitchFamily="2" charset="0"/>
              <a:cs typeface="Roboto" panose="02000000000000000000" pitchFamily="2" charset="0"/>
            </a:endParaRPr>
          </a:p>
          <a:p>
            <a:pPr marL="800100" lvl="1" indent="-342900">
              <a:buClr>
                <a:srgbClr val="009EDB"/>
              </a:buClr>
              <a:buFont typeface="System Font Regular"/>
              <a:buChar char="-"/>
            </a:pPr>
            <a:r>
              <a:rPr lang="en-GB" sz="1600" dirty="0">
                <a:latin typeface="Roboto" panose="02000000000000000000" pitchFamily="2" charset="0"/>
                <a:ea typeface="Roboto" panose="02000000000000000000" pitchFamily="2" charset="0"/>
                <a:cs typeface="Roboto" panose="02000000000000000000" pitchFamily="2" charset="0"/>
              </a:rPr>
              <a:t>What are you asking for? Clarity in what the business proposition is and what stage you are at</a:t>
            </a:r>
          </a:p>
          <a:p>
            <a:pPr marL="800100" lvl="1" indent="-342900">
              <a:buClr>
                <a:srgbClr val="009EDB"/>
              </a:buClr>
              <a:buFont typeface="System Font Regular"/>
              <a:buChar char="-"/>
            </a:pPr>
            <a:r>
              <a:rPr lang="en-GB" sz="1600" dirty="0">
                <a:latin typeface="Roboto" panose="02000000000000000000" pitchFamily="2" charset="0"/>
                <a:ea typeface="Roboto" panose="02000000000000000000" pitchFamily="2" charset="0"/>
                <a:cs typeface="Roboto" panose="02000000000000000000" pitchFamily="2" charset="0"/>
              </a:rPr>
              <a:t>Quality data: Your numbers should be comprehensive and support your key message</a:t>
            </a:r>
          </a:p>
          <a:p>
            <a:pPr marL="800100" lvl="1" indent="-342900">
              <a:buClr>
                <a:srgbClr val="009EDB"/>
              </a:buClr>
              <a:buFont typeface="System Font Regular"/>
              <a:buChar char="-"/>
            </a:pPr>
            <a:r>
              <a:rPr lang="en-GB" sz="1600" b="1" dirty="0">
                <a:latin typeface="Roboto" panose="02000000000000000000" pitchFamily="2" charset="0"/>
                <a:ea typeface="Roboto" panose="02000000000000000000" pitchFamily="2" charset="0"/>
                <a:cs typeface="Roboto" panose="02000000000000000000" pitchFamily="2" charset="0"/>
              </a:rPr>
              <a:t>Brevity: It is very important not to lose the key message</a:t>
            </a:r>
            <a:endParaRPr lang="en-GB" sz="1200" b="1" dirty="0">
              <a:latin typeface="Roboto" panose="02000000000000000000" pitchFamily="2" charset="0"/>
              <a:ea typeface="Roboto" panose="02000000000000000000" pitchFamily="2" charset="0"/>
              <a:cs typeface="Roboto" panose="02000000000000000000" pitchFamily="2" charset="0"/>
            </a:endParaRPr>
          </a:p>
          <a:p>
            <a:pPr>
              <a:spcBef>
                <a:spcPts val="2200"/>
              </a:spcBef>
              <a:spcAft>
                <a:spcPts val="1200"/>
              </a:spcAft>
            </a:pPr>
            <a:r>
              <a:rPr lang="en-GB" dirty="0">
                <a:latin typeface="Roboto" panose="02000000000000000000" pitchFamily="2" charset="0"/>
                <a:ea typeface="Roboto" panose="02000000000000000000" pitchFamily="2" charset="0"/>
                <a:cs typeface="Roboto" panose="02000000000000000000" pitchFamily="2" charset="0"/>
              </a:rPr>
              <a:t>The purpose of this template is to help you organize your data and thoughts to assemble an effective presentation for the SDG Investment Fair. </a:t>
            </a:r>
            <a:endParaRPr lang="en-GB" sz="1400" dirty="0">
              <a:latin typeface="Roboto" panose="02000000000000000000" pitchFamily="2" charset="0"/>
              <a:ea typeface="Roboto" panose="02000000000000000000" pitchFamily="2" charset="0"/>
              <a:cs typeface="Roboto" panose="02000000000000000000" pitchFamily="2" charset="0"/>
            </a:endParaRPr>
          </a:p>
          <a:p>
            <a:pPr>
              <a:spcAft>
                <a:spcPts val="1200"/>
              </a:spcAft>
            </a:pPr>
            <a:r>
              <a:rPr lang="en-GB" dirty="0">
                <a:latin typeface="Roboto" panose="02000000000000000000" pitchFamily="2" charset="0"/>
                <a:ea typeface="Roboto" panose="02000000000000000000" pitchFamily="2" charset="0"/>
                <a:cs typeface="Roboto" panose="02000000000000000000" pitchFamily="2" charset="0"/>
              </a:rPr>
              <a:t>Remember you may have an excellent project that may help many and may be bankable, but the investors must believe this sufficiently well to investigate the investment project further.</a:t>
            </a:r>
          </a:p>
          <a:p>
            <a:pPr marL="0" marR="0" lvl="0" indent="0" algn="l" defTabSz="914400" rtl="0" eaLnBrk="1" fontAlgn="auto" latinLnBrk="0" hangingPunct="1">
              <a:lnSpc>
                <a:spcPct val="100000"/>
              </a:lnSpc>
              <a:spcBef>
                <a:spcPts val="1600"/>
              </a:spcBef>
              <a:spcAft>
                <a:spcPts val="1200"/>
              </a:spcAft>
              <a:buClr>
                <a:srgbClr val="009EDB"/>
              </a:buClr>
              <a:buSzTx/>
              <a:buFont typeface="Arial" panose="020B0604020202020204" pitchFamily="34" charset="0"/>
              <a:buNone/>
              <a:tabLst/>
              <a:defRPr/>
            </a:pPr>
            <a:endParaRPr kumimoji="0" lang="en-US" sz="1100" b="1" i="0" u="none" strike="noStrike" kern="1200" cap="none" spc="0" normalizeH="0" baseline="0" noProof="0" dirty="0">
              <a:ln>
                <a:noFill/>
              </a:ln>
              <a:solidFill>
                <a:srgbClr val="000000"/>
              </a:solidFill>
              <a:effectLst/>
              <a:uLnTx/>
              <a:uFillTx/>
              <a:latin typeface="Roboto" panose="020B0604020202020204"/>
              <a:ea typeface="+mn-ea"/>
              <a:cs typeface="+mn-cs"/>
            </a:endParaRPr>
          </a:p>
        </p:txBody>
      </p:sp>
    </p:spTree>
    <p:extLst>
      <p:ext uri="{BB962C8B-B14F-4D97-AF65-F5344CB8AC3E}">
        <p14:creationId xmlns:p14="http://schemas.microsoft.com/office/powerpoint/2010/main" val="3058390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6E4A12AF-91D3-BBBD-1038-9696E8BCB8D1}"/>
              </a:ext>
            </a:extLst>
          </p:cNvPr>
          <p:cNvGraphicFramePr>
            <a:graphicFrameLocks noChangeAspect="1"/>
          </p:cNvGraphicFramePr>
          <p:nvPr>
            <p:custDataLst>
              <p:tags r:id="rId1"/>
            </p:custDataLst>
            <p:extLst>
              <p:ext uri="{D42A27DB-BD31-4B8C-83A1-F6EECF244321}">
                <p14:modId xmlns:p14="http://schemas.microsoft.com/office/powerpoint/2010/main" val="1137888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5" name="Object 14" hidden="1">
                        <a:extLst>
                          <a:ext uri="{FF2B5EF4-FFF2-40B4-BE49-F238E27FC236}">
                            <a16:creationId xmlns:a16="http://schemas.microsoft.com/office/drawing/2014/main" id="{6E4A12AF-91D3-BBBD-1038-9696E8BCB8D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6A974B6C-B2BB-80DA-35FA-7094015D3873}"/>
              </a:ext>
            </a:extLst>
          </p:cNvPr>
          <p:cNvGrpSpPr/>
          <p:nvPr/>
        </p:nvGrpSpPr>
        <p:grpSpPr>
          <a:xfrm>
            <a:off x="-9312" y="-83900"/>
            <a:ext cx="12201312" cy="6868484"/>
            <a:chOff x="-9312" y="-5242"/>
            <a:chExt cx="12201312" cy="6868484"/>
          </a:xfrm>
        </p:grpSpPr>
        <p:pic>
          <p:nvPicPr>
            <p:cNvPr id="4" name="Picture 3">
              <a:extLst>
                <a:ext uri="{FF2B5EF4-FFF2-40B4-BE49-F238E27FC236}">
                  <a16:creationId xmlns:a16="http://schemas.microsoft.com/office/drawing/2014/main" id="{2B05B778-0232-E9C4-ACBF-AF4FC374CC60}"/>
                </a:ext>
              </a:extLst>
            </p:cNvPr>
            <p:cNvPicPr>
              <a:picLocks noChangeAspect="1"/>
            </p:cNvPicPr>
            <p:nvPr/>
          </p:nvPicPr>
          <p:blipFill rotWithShape="1">
            <a:blip r:embed="rId5">
              <a:extLst>
                <a:ext uri="{28A0092B-C50C-407E-A947-70E740481C1C}">
                  <a14:useLocalDpi xmlns:a14="http://schemas.microsoft.com/office/drawing/2010/main" val="0"/>
                </a:ext>
              </a:extLst>
            </a:blip>
            <a:srcRect l="1899" t="7292" b="3494"/>
            <a:stretch/>
          </p:blipFill>
          <p:spPr>
            <a:xfrm>
              <a:off x="-9312" y="-5242"/>
              <a:ext cx="12201312" cy="6868484"/>
            </a:xfrm>
            <a:prstGeom prst="rect">
              <a:avLst/>
            </a:prstGeom>
          </p:spPr>
        </p:pic>
        <p:sp>
          <p:nvSpPr>
            <p:cNvPr id="5" name="TextBox 4">
              <a:extLst>
                <a:ext uri="{FF2B5EF4-FFF2-40B4-BE49-F238E27FC236}">
                  <a16:creationId xmlns:a16="http://schemas.microsoft.com/office/drawing/2014/main" id="{E30C4FEE-F0DF-195B-C8DD-03AB1C6CBCCF}"/>
                </a:ext>
              </a:extLst>
            </p:cNvPr>
            <p:cNvSpPr txBox="1"/>
            <p:nvPr/>
          </p:nvSpPr>
          <p:spPr>
            <a:xfrm>
              <a:off x="1536699" y="6337300"/>
              <a:ext cx="5343072" cy="323165"/>
            </a:xfrm>
            <a:prstGeom prst="rect">
              <a:avLst/>
            </a:prstGeom>
            <a:solidFill>
              <a:schemeClr val="bg1"/>
            </a:solidFill>
          </p:spPr>
          <p:txBody>
            <a:bodyPr wrap="square" rtlCol="0">
              <a:spAutoFit/>
            </a:bodyPr>
            <a:lstStyle/>
            <a:p>
              <a:pPr>
                <a:spcAft>
                  <a:spcPts val="1800"/>
                </a:spcAft>
              </a:pPr>
              <a:r>
                <a:rPr lang="en-US" sz="1500" b="1" spc="-50">
                  <a:latin typeface="Roboto" panose="02000000000000000000" pitchFamily="2" charset="0"/>
                  <a:ea typeface="Roboto" panose="02000000000000000000" pitchFamily="2" charset="0"/>
                </a:rPr>
                <a:t>Financing for Sustainable Development Office</a:t>
              </a:r>
            </a:p>
          </p:txBody>
        </p:sp>
      </p:grpSp>
      <p:sp>
        <p:nvSpPr>
          <p:cNvPr id="8" name="Rectangle 7">
            <a:extLst>
              <a:ext uri="{FF2B5EF4-FFF2-40B4-BE49-F238E27FC236}">
                <a16:creationId xmlns:a16="http://schemas.microsoft.com/office/drawing/2014/main" id="{64FA9D37-9FC0-439A-9F9D-3EDA4368ECC3}"/>
              </a:ext>
            </a:extLst>
          </p:cNvPr>
          <p:cNvSpPr/>
          <p:nvPr/>
        </p:nvSpPr>
        <p:spPr>
          <a:xfrm>
            <a:off x="1311442" y="977531"/>
            <a:ext cx="878305" cy="2746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6">
            <a:extLst>
              <a:ext uri="{FF2B5EF4-FFF2-40B4-BE49-F238E27FC236}">
                <a16:creationId xmlns:a16="http://schemas.microsoft.com/office/drawing/2014/main" id="{E9B8FE5A-AE54-4675-969E-BF622F732C1E}"/>
              </a:ext>
            </a:extLst>
          </p:cNvPr>
          <p:cNvSpPr txBox="1">
            <a:spLocks/>
          </p:cNvSpPr>
          <p:nvPr/>
        </p:nvSpPr>
        <p:spPr>
          <a:xfrm>
            <a:off x="582786" y="558559"/>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What makes a good investor presentation</a:t>
            </a:r>
            <a:endParaRPr kumimoji="0" lang="en-US" sz="3600" i="0" u="none" strike="noStrike" kern="1200" cap="none" spc="0" normalizeH="0" baseline="0" noProof="0">
              <a:ln>
                <a:noFill/>
              </a:ln>
              <a:solidFill>
                <a:srgbClr val="000000"/>
              </a:solidFill>
              <a:effectLst/>
              <a:uLnTx/>
              <a:uFillTx/>
              <a:latin typeface="Roboto" panose="020B0604020202020204"/>
              <a:ea typeface="+mj-ea"/>
              <a:cs typeface="+mj-cs"/>
            </a:endParaRP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49323" y="2556691"/>
            <a:ext cx="4264025" cy="356286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Roboto"/>
                <a:ea typeface="Roboto"/>
                <a:cs typeface="Roboto"/>
              </a:rPr>
              <a:t>Who is your team?</a:t>
            </a:r>
          </a:p>
          <a:p>
            <a:pPr lvl="1">
              <a:buClr>
                <a:srgbClr val="009EDB"/>
              </a:buClr>
              <a:buFont typeface="System Font Regular"/>
              <a:buChar char="-"/>
            </a:pPr>
            <a:r>
              <a:rPr lang="en-GB" dirty="0">
                <a:latin typeface="Roboto"/>
                <a:ea typeface="Roboto"/>
                <a:cs typeface="Roboto"/>
              </a:rPr>
              <a:t>The people will be governing, implementing, and operating this asset or enterprise</a:t>
            </a:r>
          </a:p>
          <a:p>
            <a:r>
              <a:rPr lang="en-GB" dirty="0">
                <a:latin typeface="Roboto"/>
                <a:ea typeface="Roboto"/>
                <a:cs typeface="Roboto"/>
              </a:rPr>
              <a:t>What are the Financials?</a:t>
            </a:r>
            <a:endParaRPr lang="en-GB" sz="1600" dirty="0">
              <a:latin typeface="Roboto"/>
              <a:ea typeface="Roboto"/>
              <a:cs typeface="Roboto"/>
            </a:endParaRPr>
          </a:p>
          <a:p>
            <a:pPr lvl="1">
              <a:buClr>
                <a:srgbClr val="009EDB"/>
              </a:buClr>
              <a:buFont typeface="System Font Regular"/>
              <a:buChar char="-"/>
            </a:pPr>
            <a:r>
              <a:rPr lang="en-GB" dirty="0">
                <a:latin typeface="Roboto"/>
                <a:ea typeface="Roboto"/>
                <a:cs typeface="Roboto"/>
              </a:rPr>
              <a:t>Why the investment is needed</a:t>
            </a:r>
          </a:p>
          <a:p>
            <a:pPr lvl="1">
              <a:buClr>
                <a:srgbClr val="009EDB"/>
              </a:buClr>
              <a:buFont typeface="System Font Regular"/>
              <a:buChar char="-"/>
            </a:pPr>
            <a:r>
              <a:rPr lang="en-GB" dirty="0">
                <a:latin typeface="Roboto"/>
                <a:ea typeface="Roboto"/>
                <a:cs typeface="Roboto"/>
              </a:rPr>
              <a:t>Why the business case makes sense and why the investor will profit</a:t>
            </a:r>
          </a:p>
          <a:p>
            <a:r>
              <a:rPr lang="en-GB" dirty="0">
                <a:latin typeface="Roboto"/>
                <a:ea typeface="Roboto"/>
                <a:cs typeface="Roboto"/>
              </a:rPr>
              <a:t>How is risk mitigated?</a:t>
            </a:r>
          </a:p>
          <a:p>
            <a:pPr lvl="1">
              <a:buClr>
                <a:srgbClr val="009EDB"/>
              </a:buClr>
              <a:buFont typeface="System Font Regular"/>
              <a:buChar char="-"/>
            </a:pPr>
            <a:r>
              <a:rPr lang="en-GB" dirty="0">
                <a:latin typeface="Roboto"/>
                <a:ea typeface="Roboto"/>
                <a:cs typeface="Roboto"/>
              </a:rPr>
              <a:t>What you are doing to ensure success – procurement rules, guarantees, partners involved, etc.</a:t>
            </a:r>
          </a:p>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600" b="1" i="0" u="none" strike="noStrike" kern="1200" cap="none" spc="0" normalizeH="0" baseline="0" noProof="0" dirty="0">
              <a:ln>
                <a:noFill/>
              </a:ln>
              <a:solidFill>
                <a:srgbClr val="000000"/>
              </a:solidFill>
              <a:effectLst/>
              <a:uLnTx/>
              <a:uFillTx/>
              <a:latin typeface="Roboto"/>
              <a:ea typeface="Roboto"/>
              <a:cs typeface="Roboto"/>
            </a:endParaRP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706646" y="2556691"/>
            <a:ext cx="4264025" cy="356286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atin typeface="Roboto"/>
                <a:ea typeface="Roboto"/>
                <a:cs typeface="Roboto"/>
              </a:rPr>
              <a:t>What is your purpose of your project?</a:t>
            </a:r>
          </a:p>
          <a:p>
            <a:r>
              <a:rPr lang="en-GB">
                <a:latin typeface="Roboto"/>
                <a:ea typeface="Roboto"/>
                <a:cs typeface="Roboto"/>
              </a:rPr>
              <a:t>What is the problem you are trying to address?</a:t>
            </a:r>
            <a:endParaRPr lang="en-GB" sz="1600">
              <a:latin typeface="Roboto"/>
              <a:ea typeface="Roboto"/>
              <a:cs typeface="Roboto"/>
            </a:endParaRPr>
          </a:p>
          <a:p>
            <a:pPr lvl="1">
              <a:buClr>
                <a:srgbClr val="009EDB"/>
              </a:buClr>
              <a:buFont typeface="System Font Regular"/>
              <a:buChar char="-"/>
            </a:pPr>
            <a:r>
              <a:rPr lang="en-GB">
                <a:latin typeface="Roboto"/>
                <a:ea typeface="Roboto"/>
                <a:cs typeface="Roboto"/>
              </a:rPr>
              <a:t>Clean water, green energy, better healthcare, etc. </a:t>
            </a:r>
          </a:p>
          <a:p>
            <a:pPr lvl="1">
              <a:buClr>
                <a:srgbClr val="009EDB"/>
              </a:buClr>
              <a:buFont typeface="System Font Regular"/>
              <a:buChar char="-"/>
            </a:pPr>
            <a:r>
              <a:rPr lang="en-GB">
                <a:latin typeface="Roboto"/>
                <a:ea typeface="Roboto"/>
                <a:cs typeface="Roboto"/>
              </a:rPr>
              <a:t>Connect this to the SDGs for reference</a:t>
            </a:r>
          </a:p>
          <a:p>
            <a:r>
              <a:rPr lang="en-GB">
                <a:latin typeface="Roboto"/>
                <a:ea typeface="Roboto"/>
                <a:cs typeface="Roboto"/>
              </a:rPr>
              <a:t>What is your solution to the problem?</a:t>
            </a:r>
          </a:p>
          <a:p>
            <a:pPr marL="285750" indent="-285750">
              <a:buClr>
                <a:srgbClr val="009EDB"/>
              </a:buClr>
              <a:buFont typeface="System Font Regular"/>
              <a:buChar char="-"/>
              <a:defRPr/>
            </a:pPr>
            <a:r>
              <a:rPr lang="en-GB" sz="1400" b="0">
                <a:latin typeface="Roboto"/>
                <a:ea typeface="Roboto"/>
                <a:cs typeface="Roboto"/>
              </a:rPr>
              <a:t>How the problem solves a significant problem</a:t>
            </a:r>
          </a:p>
        </p:txBody>
      </p:sp>
      <p:pic>
        <p:nvPicPr>
          <p:cNvPr id="2" name="Picture 1" descr="A picture containing application&#10;&#10;Description automatically generated">
            <a:extLst>
              <a:ext uri="{FF2B5EF4-FFF2-40B4-BE49-F238E27FC236}">
                <a16:creationId xmlns:a16="http://schemas.microsoft.com/office/drawing/2014/main" id="{5278DB8C-D024-7F3B-DB7C-C45A73AABF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71788" y="5876699"/>
            <a:ext cx="1867409" cy="1208453"/>
          </a:xfrm>
          <a:prstGeom prst="rect">
            <a:avLst/>
          </a:prstGeom>
        </p:spPr>
      </p:pic>
      <p:sp>
        <p:nvSpPr>
          <p:cNvPr id="7" name="TextBox 6">
            <a:extLst>
              <a:ext uri="{FF2B5EF4-FFF2-40B4-BE49-F238E27FC236}">
                <a16:creationId xmlns:a16="http://schemas.microsoft.com/office/drawing/2014/main" id="{B8593005-AA8C-C099-7C48-0753F7594D7F}"/>
              </a:ext>
            </a:extLst>
          </p:cNvPr>
          <p:cNvSpPr txBox="1"/>
          <p:nvPr/>
        </p:nvSpPr>
        <p:spPr>
          <a:xfrm>
            <a:off x="706646" y="1990495"/>
            <a:ext cx="101998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kumimoji="0" lang="en-US" b="1" i="0" u="none" strike="noStrike" kern="1200" cap="none" spc="0" normalizeH="0" baseline="0" noProof="0">
                <a:ln>
                  <a:noFill/>
                </a:ln>
                <a:solidFill>
                  <a:srgbClr val="000000"/>
                </a:solidFill>
                <a:effectLst/>
                <a:uLnTx/>
                <a:uFillTx/>
                <a:latin typeface="Roboto"/>
                <a:ea typeface="Roboto"/>
                <a:cs typeface="Roboto"/>
              </a:rPr>
              <a:t>The setup: Gaining interest by addressing these key questions</a:t>
            </a:r>
          </a:p>
        </p:txBody>
      </p:sp>
      <p:cxnSp>
        <p:nvCxnSpPr>
          <p:cNvPr id="16" name="Straight Connector 15">
            <a:extLst>
              <a:ext uri="{FF2B5EF4-FFF2-40B4-BE49-F238E27FC236}">
                <a16:creationId xmlns:a16="http://schemas.microsoft.com/office/drawing/2014/main" id="{7FA6B1B7-F7F3-74F4-414D-DF7F2AE01B26}"/>
              </a:ext>
            </a:extLst>
          </p:cNvPr>
          <p:cNvCxnSpPr>
            <a:cxnSpLocks/>
          </p:cNvCxnSpPr>
          <p:nvPr/>
        </p:nvCxnSpPr>
        <p:spPr>
          <a:xfrm>
            <a:off x="772885" y="2449286"/>
            <a:ext cx="6542315" cy="0"/>
          </a:xfrm>
          <a:prstGeom prst="line">
            <a:avLst/>
          </a:prstGeom>
          <a:ln w="19050">
            <a:solidFill>
              <a:srgbClr val="009ED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8959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62A3DD6-E0C0-2C7E-04C8-B644DA400DA1}"/>
              </a:ext>
            </a:extLst>
          </p:cNvPr>
          <p:cNvGraphicFramePr>
            <a:graphicFrameLocks noChangeAspect="1"/>
          </p:cNvGraphicFramePr>
          <p:nvPr>
            <p:custDataLst>
              <p:tags r:id="rId1"/>
            </p:custDataLst>
            <p:extLst>
              <p:ext uri="{D42A27DB-BD31-4B8C-83A1-F6EECF244321}">
                <p14:modId xmlns:p14="http://schemas.microsoft.com/office/powerpoint/2010/main" val="837107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7" name="Object 16" hidden="1">
                        <a:extLst>
                          <a:ext uri="{FF2B5EF4-FFF2-40B4-BE49-F238E27FC236}">
                            <a16:creationId xmlns:a16="http://schemas.microsoft.com/office/drawing/2014/main" id="{762A3DD6-E0C0-2C7E-04C8-B644DA400D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B296600A-7078-1881-ACB0-109CD108FD70}"/>
              </a:ext>
            </a:extLst>
          </p:cNvPr>
          <p:cNvGrpSpPr/>
          <p:nvPr/>
        </p:nvGrpSpPr>
        <p:grpSpPr>
          <a:xfrm>
            <a:off x="-9312" y="7543"/>
            <a:ext cx="12201312" cy="6868484"/>
            <a:chOff x="-9312" y="-5242"/>
            <a:chExt cx="12201312" cy="6868484"/>
          </a:xfrm>
        </p:grpSpPr>
        <p:pic>
          <p:nvPicPr>
            <p:cNvPr id="7" name="Picture 6">
              <a:extLst>
                <a:ext uri="{FF2B5EF4-FFF2-40B4-BE49-F238E27FC236}">
                  <a16:creationId xmlns:a16="http://schemas.microsoft.com/office/drawing/2014/main" id="{490076FF-6D57-02CE-7416-77B3CA3D6AD2}"/>
                </a:ext>
              </a:extLst>
            </p:cNvPr>
            <p:cNvPicPr>
              <a:picLocks noChangeAspect="1"/>
            </p:cNvPicPr>
            <p:nvPr/>
          </p:nvPicPr>
          <p:blipFill rotWithShape="1">
            <a:blip r:embed="rId5">
              <a:extLst>
                <a:ext uri="{28A0092B-C50C-407E-A947-70E740481C1C}">
                  <a14:useLocalDpi xmlns:a14="http://schemas.microsoft.com/office/drawing/2010/main" val="0"/>
                </a:ext>
              </a:extLst>
            </a:blip>
            <a:srcRect l="1899" t="7292" b="3494"/>
            <a:stretch/>
          </p:blipFill>
          <p:spPr>
            <a:xfrm>
              <a:off x="-9312" y="-5242"/>
              <a:ext cx="12201312" cy="6868484"/>
            </a:xfrm>
            <a:prstGeom prst="rect">
              <a:avLst/>
            </a:prstGeom>
          </p:spPr>
        </p:pic>
        <p:sp>
          <p:nvSpPr>
            <p:cNvPr id="14" name="TextBox 13">
              <a:extLst>
                <a:ext uri="{FF2B5EF4-FFF2-40B4-BE49-F238E27FC236}">
                  <a16:creationId xmlns:a16="http://schemas.microsoft.com/office/drawing/2014/main" id="{2F452BFE-E4FE-7E00-FB12-B067450583B9}"/>
                </a:ext>
              </a:extLst>
            </p:cNvPr>
            <p:cNvSpPr txBox="1"/>
            <p:nvPr/>
          </p:nvSpPr>
          <p:spPr>
            <a:xfrm>
              <a:off x="1536699" y="6337300"/>
              <a:ext cx="5343072" cy="323165"/>
            </a:xfrm>
            <a:prstGeom prst="rect">
              <a:avLst/>
            </a:prstGeom>
            <a:solidFill>
              <a:schemeClr val="bg1"/>
            </a:solidFill>
          </p:spPr>
          <p:txBody>
            <a:bodyPr wrap="square" rtlCol="0">
              <a:spAutoFit/>
            </a:bodyPr>
            <a:lstStyle/>
            <a:p>
              <a:pPr>
                <a:spcAft>
                  <a:spcPts val="1800"/>
                </a:spcAft>
              </a:pPr>
              <a:r>
                <a:rPr lang="en-US" sz="1500" b="1" spc="-50">
                  <a:latin typeface="Roboto" panose="02000000000000000000" pitchFamily="2" charset="0"/>
                  <a:ea typeface="Roboto" panose="02000000000000000000" pitchFamily="2" charset="0"/>
                </a:rPr>
                <a:t>Financing for Sustainable Development Office</a:t>
              </a:r>
            </a:p>
          </p:txBody>
        </p:sp>
      </p:grpSp>
      <p:sp>
        <p:nvSpPr>
          <p:cNvPr id="8" name="Rectangle 7">
            <a:extLst>
              <a:ext uri="{FF2B5EF4-FFF2-40B4-BE49-F238E27FC236}">
                <a16:creationId xmlns:a16="http://schemas.microsoft.com/office/drawing/2014/main" id="{64FA9D37-9FC0-439A-9F9D-3EDA4368ECC3}"/>
              </a:ext>
            </a:extLst>
          </p:cNvPr>
          <p:cNvSpPr/>
          <p:nvPr/>
        </p:nvSpPr>
        <p:spPr>
          <a:xfrm>
            <a:off x="1311442" y="977531"/>
            <a:ext cx="878305" cy="2746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6">
            <a:extLst>
              <a:ext uri="{FF2B5EF4-FFF2-40B4-BE49-F238E27FC236}">
                <a16:creationId xmlns:a16="http://schemas.microsoft.com/office/drawing/2014/main" id="{E9B8FE5A-AE54-4675-969E-BF622F732C1E}"/>
              </a:ext>
            </a:extLst>
          </p:cNvPr>
          <p:cNvSpPr txBox="1">
            <a:spLocks/>
          </p:cNvSpPr>
          <p:nvPr/>
        </p:nvSpPr>
        <p:spPr>
          <a:xfrm>
            <a:off x="582786" y="558559"/>
            <a:ext cx="10847214"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Table of contents</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2400">
                <a:solidFill>
                  <a:srgbClr val="000000"/>
                </a:solidFill>
                <a:latin typeface="Roboto" panose="020B0604020202020204"/>
              </a:rPr>
              <a:t>We recommend you use this index for your investment presentation</a:t>
            </a:r>
            <a:endParaRPr kumimoji="0" lang="en-US" sz="3600" i="0" u="none" strike="noStrike" kern="1200" cap="none" spc="0" normalizeH="0" baseline="0" noProof="0">
              <a:ln>
                <a:noFill/>
              </a:ln>
              <a:solidFill>
                <a:srgbClr val="000000"/>
              </a:solidFill>
              <a:effectLst/>
              <a:uLnTx/>
              <a:uFillTx/>
              <a:latin typeface="Roboto" panose="020B0604020202020204"/>
              <a:ea typeface="+mj-ea"/>
              <a:cs typeface="+mj-cs"/>
            </a:endParaRP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1823210" y="2791911"/>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EDB"/>
              </a:buClr>
              <a:defRPr/>
            </a:pPr>
            <a:r>
              <a:rPr lang="en-US" dirty="0">
                <a:solidFill>
                  <a:srgbClr val="000000"/>
                </a:solidFill>
                <a:latin typeface="Roboto" panose="020B0604020202020204"/>
              </a:rPr>
              <a:t>Executive Summary</a:t>
            </a:r>
          </a:p>
          <a:p>
            <a:pPr marR="0" lvl="0" algn="l" defTabSz="914400" rtl="0" eaLnBrk="1" fontAlgn="auto" latinLnBrk="0" hangingPunct="1">
              <a:lnSpc>
                <a:spcPct val="100000"/>
              </a:lnSpc>
              <a:spcBef>
                <a:spcPts val="1600"/>
              </a:spcBef>
              <a:spcAft>
                <a:spcPts val="0"/>
              </a:spcAft>
              <a:buClr>
                <a:srgbClr val="009EDB"/>
              </a:buClr>
              <a:buSzTx/>
              <a:tabLst/>
              <a:defRPr/>
            </a:pPr>
            <a:r>
              <a:rPr kumimoji="0" lang="en-US" i="0" u="none" strike="noStrike" kern="1200" cap="none" spc="0" normalizeH="0" baseline="0" noProof="0" dirty="0">
                <a:ln>
                  <a:noFill/>
                </a:ln>
                <a:solidFill>
                  <a:srgbClr val="000000"/>
                </a:solidFill>
                <a:effectLst/>
                <a:uLnTx/>
                <a:uFillTx/>
                <a:latin typeface="Roboto" panose="020B0604020202020204"/>
                <a:ea typeface="+mn-ea"/>
                <a:cs typeface="+mn-cs"/>
              </a:rPr>
              <a:t>Country Overview</a:t>
            </a:r>
          </a:p>
          <a:p>
            <a:pPr marR="0" lvl="0" algn="l" defTabSz="914400" rtl="0" eaLnBrk="1" fontAlgn="auto" latinLnBrk="0" hangingPunct="1">
              <a:lnSpc>
                <a:spcPct val="100000"/>
              </a:lnSpc>
              <a:spcBef>
                <a:spcPts val="1600"/>
              </a:spcBef>
              <a:spcAft>
                <a:spcPts val="0"/>
              </a:spcAft>
              <a:buClr>
                <a:srgbClr val="009EDB"/>
              </a:buClr>
              <a:buSzTx/>
              <a:tabLst/>
              <a:defRPr/>
            </a:pPr>
            <a:r>
              <a:rPr kumimoji="0" lang="en-US" i="0" u="none" strike="noStrike" kern="1200" cap="none" spc="0" normalizeH="0" baseline="0" noProof="0" dirty="0">
                <a:ln>
                  <a:noFill/>
                </a:ln>
                <a:solidFill>
                  <a:srgbClr val="000000"/>
                </a:solidFill>
                <a:effectLst/>
                <a:uLnTx/>
                <a:uFillTx/>
                <a:latin typeface="Roboto" panose="020B0604020202020204"/>
                <a:ea typeface="+mn-ea"/>
                <a:cs typeface="+mn-cs"/>
              </a:rPr>
              <a:t>Business Climate</a:t>
            </a:r>
          </a:p>
          <a:p>
            <a:pPr marR="0" lvl="0" algn="l" defTabSz="914400" rtl="0" eaLnBrk="1" fontAlgn="auto" latinLnBrk="0" hangingPunct="1">
              <a:lnSpc>
                <a:spcPct val="100000"/>
              </a:lnSpc>
              <a:spcBef>
                <a:spcPts val="1600"/>
              </a:spcBef>
              <a:spcAft>
                <a:spcPts val="0"/>
              </a:spcAft>
              <a:buClr>
                <a:srgbClr val="009EDB"/>
              </a:buClr>
              <a:buSzTx/>
              <a:tabLst/>
              <a:defRPr/>
            </a:pPr>
            <a:r>
              <a:rPr lang="en-US" dirty="0">
                <a:solidFill>
                  <a:srgbClr val="000000"/>
                </a:solidFill>
                <a:latin typeface="Roboto" panose="020B0604020202020204"/>
              </a:rPr>
              <a:t>Project Overview</a:t>
            </a:r>
          </a:p>
        </p:txBody>
      </p:sp>
      <p:pic>
        <p:nvPicPr>
          <p:cNvPr id="6" name="Graphic 5">
            <a:extLst>
              <a:ext uri="{FF2B5EF4-FFF2-40B4-BE49-F238E27FC236}">
                <a16:creationId xmlns:a16="http://schemas.microsoft.com/office/drawing/2014/main" id="{70C4E523-473B-70F8-FB18-0C6D5CC0B74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6689" y="3332271"/>
            <a:ext cx="303266" cy="338530"/>
          </a:xfrm>
          <a:prstGeom prst="rect">
            <a:avLst/>
          </a:prstGeom>
        </p:spPr>
      </p:pic>
      <p:pic>
        <p:nvPicPr>
          <p:cNvPr id="9" name="Graphic 8">
            <a:extLst>
              <a:ext uri="{FF2B5EF4-FFF2-40B4-BE49-F238E27FC236}">
                <a16:creationId xmlns:a16="http://schemas.microsoft.com/office/drawing/2014/main" id="{A0C9D194-9314-BE76-C7DA-B3ECF7C8E3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67031" y="4245001"/>
            <a:ext cx="338531" cy="338531"/>
          </a:xfrm>
          <a:prstGeom prst="rect">
            <a:avLst/>
          </a:prstGeom>
        </p:spPr>
      </p:pic>
      <p:pic>
        <p:nvPicPr>
          <p:cNvPr id="12" name="Graphic 11">
            <a:extLst>
              <a:ext uri="{FF2B5EF4-FFF2-40B4-BE49-F238E27FC236}">
                <a16:creationId xmlns:a16="http://schemas.microsoft.com/office/drawing/2014/main" id="{8C51FD3C-2F3E-5429-2B25-62E5F543789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60464" y="3760950"/>
            <a:ext cx="338532" cy="338532"/>
          </a:xfrm>
          <a:prstGeom prst="rect">
            <a:avLst/>
          </a:prstGeom>
        </p:spPr>
      </p:pic>
      <p:pic>
        <p:nvPicPr>
          <p:cNvPr id="16" name="Graphic 15">
            <a:extLst>
              <a:ext uri="{FF2B5EF4-FFF2-40B4-BE49-F238E27FC236}">
                <a16:creationId xmlns:a16="http://schemas.microsoft.com/office/drawing/2014/main" id="{4ED303D4-A686-75AD-C828-BE18ADA85E6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67968" y="2832756"/>
            <a:ext cx="338532" cy="338532"/>
          </a:xfrm>
          <a:prstGeom prst="rect">
            <a:avLst/>
          </a:prstGeom>
        </p:spPr>
      </p:pic>
      <p:sp>
        <p:nvSpPr>
          <p:cNvPr id="34" name="TextBox 33">
            <a:extLst>
              <a:ext uri="{FF2B5EF4-FFF2-40B4-BE49-F238E27FC236}">
                <a16:creationId xmlns:a16="http://schemas.microsoft.com/office/drawing/2014/main" id="{EC40CF95-88CA-1988-046C-705FFF95D33E}"/>
              </a:ext>
            </a:extLst>
          </p:cNvPr>
          <p:cNvSpPr txBox="1"/>
          <p:nvPr/>
        </p:nvSpPr>
        <p:spPr>
          <a:xfrm>
            <a:off x="6788844" y="2817181"/>
            <a:ext cx="6097314" cy="1815882"/>
          </a:xfrm>
          <a:prstGeom prst="rect">
            <a:avLst/>
          </a:prstGeom>
          <a:noFill/>
        </p:spPr>
        <p:txBody>
          <a:bodyPr wrap="square">
            <a:spAutoFit/>
          </a:bodyPr>
          <a:lstStyle/>
          <a:p>
            <a:pPr marR="0" lvl="0" algn="l" defTabSz="914400" rtl="0" eaLnBrk="1" fontAlgn="auto" latinLnBrk="0" hangingPunct="1">
              <a:lnSpc>
                <a:spcPct val="100000"/>
              </a:lnSpc>
              <a:spcBef>
                <a:spcPts val="1600"/>
              </a:spcBef>
              <a:spcAft>
                <a:spcPts val="0"/>
              </a:spcAft>
              <a:buClr>
                <a:srgbClr val="009EDB"/>
              </a:buClr>
              <a:buSzTx/>
              <a:tabLst/>
              <a:defRPr/>
            </a:pPr>
            <a:r>
              <a:rPr kumimoji="0" lang="en-US" b="1" i="0" u="none" strike="noStrike" kern="1200" cap="none" spc="0" normalizeH="0" baseline="0" noProof="0">
                <a:ln>
                  <a:noFill/>
                </a:ln>
                <a:solidFill>
                  <a:srgbClr val="000000"/>
                </a:solidFill>
                <a:effectLst/>
                <a:uLnTx/>
                <a:uFillTx/>
                <a:latin typeface="Roboto" panose="020B0604020202020204"/>
                <a:ea typeface="+mn-ea"/>
                <a:cs typeface="+mn-cs"/>
              </a:rPr>
              <a:t>Investment Details</a:t>
            </a:r>
          </a:p>
          <a:p>
            <a:pPr marR="0" lvl="0" algn="l" defTabSz="914400" rtl="0" eaLnBrk="1" fontAlgn="auto" latinLnBrk="0" hangingPunct="1">
              <a:lnSpc>
                <a:spcPct val="100000"/>
              </a:lnSpc>
              <a:spcBef>
                <a:spcPts val="1600"/>
              </a:spcBef>
              <a:spcAft>
                <a:spcPts val="0"/>
              </a:spcAft>
              <a:buClr>
                <a:srgbClr val="009EDB"/>
              </a:buClr>
              <a:buSzTx/>
              <a:tabLst/>
              <a:defRPr/>
            </a:pPr>
            <a:r>
              <a:rPr lang="en-US" b="1">
                <a:solidFill>
                  <a:srgbClr val="000000"/>
                </a:solidFill>
                <a:latin typeface="Roboto" panose="020B0604020202020204"/>
              </a:rPr>
              <a:t>Timeline</a:t>
            </a:r>
          </a:p>
          <a:p>
            <a:pPr marR="0" lvl="0" algn="l" defTabSz="914400" rtl="0" eaLnBrk="1" fontAlgn="auto" latinLnBrk="0" hangingPunct="1">
              <a:lnSpc>
                <a:spcPct val="100000"/>
              </a:lnSpc>
              <a:spcBef>
                <a:spcPts val="1600"/>
              </a:spcBef>
              <a:spcAft>
                <a:spcPts val="0"/>
              </a:spcAft>
              <a:buClr>
                <a:srgbClr val="009EDB"/>
              </a:buClr>
              <a:buSzTx/>
              <a:tabLst/>
              <a:defRPr/>
            </a:pPr>
            <a:r>
              <a:rPr kumimoji="0" lang="en-US" b="1" i="0" u="none" strike="noStrike" kern="1200" cap="none" spc="0" normalizeH="0" baseline="0" noProof="0">
                <a:ln>
                  <a:noFill/>
                </a:ln>
                <a:solidFill>
                  <a:srgbClr val="000000"/>
                </a:solidFill>
                <a:effectLst/>
                <a:uLnTx/>
                <a:uFillTx/>
                <a:latin typeface="Roboto" panose="020B0604020202020204"/>
                <a:ea typeface="+mn-ea"/>
                <a:cs typeface="+mn-cs"/>
              </a:rPr>
              <a:t>SDG Alignment</a:t>
            </a:r>
          </a:p>
          <a:p>
            <a:pPr marR="0" lvl="0" algn="l" defTabSz="914400" rtl="0" eaLnBrk="1" fontAlgn="auto" latinLnBrk="0" hangingPunct="1">
              <a:lnSpc>
                <a:spcPct val="100000"/>
              </a:lnSpc>
              <a:spcBef>
                <a:spcPts val="1600"/>
              </a:spcBef>
              <a:spcAft>
                <a:spcPts val="0"/>
              </a:spcAft>
              <a:buClr>
                <a:srgbClr val="009EDB"/>
              </a:buClr>
              <a:buSzTx/>
              <a:tabLst/>
              <a:defRPr/>
            </a:pPr>
            <a:r>
              <a:rPr lang="en-US" b="1">
                <a:solidFill>
                  <a:srgbClr val="000000"/>
                </a:solidFill>
                <a:latin typeface="Roboto" panose="020B0604020202020204"/>
              </a:rPr>
              <a:t>Conclusion/Takeaways</a:t>
            </a:r>
          </a:p>
        </p:txBody>
      </p:sp>
      <p:pic>
        <p:nvPicPr>
          <p:cNvPr id="11" name="Graphic 10">
            <a:extLst>
              <a:ext uri="{FF2B5EF4-FFF2-40B4-BE49-F238E27FC236}">
                <a16:creationId xmlns:a16="http://schemas.microsoft.com/office/drawing/2014/main" id="{823B3B2B-B26D-9C7C-637A-20D39DDBFF0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49681" y="2819904"/>
            <a:ext cx="273177" cy="364236"/>
          </a:xfrm>
          <a:prstGeom prst="rect">
            <a:avLst/>
          </a:prstGeom>
        </p:spPr>
      </p:pic>
      <p:pic>
        <p:nvPicPr>
          <p:cNvPr id="15" name="Graphic 14">
            <a:extLst>
              <a:ext uri="{FF2B5EF4-FFF2-40B4-BE49-F238E27FC236}">
                <a16:creationId xmlns:a16="http://schemas.microsoft.com/office/drawing/2014/main" id="{69721327-46DE-ED84-810A-BF2D6039E33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52708" y="4295747"/>
            <a:ext cx="314254" cy="329218"/>
          </a:xfrm>
          <a:prstGeom prst="rect">
            <a:avLst/>
          </a:prstGeom>
        </p:spPr>
      </p:pic>
      <p:pic>
        <p:nvPicPr>
          <p:cNvPr id="19" name="Picture 18">
            <a:extLst>
              <a:ext uri="{FF2B5EF4-FFF2-40B4-BE49-F238E27FC236}">
                <a16:creationId xmlns:a16="http://schemas.microsoft.com/office/drawing/2014/main" id="{63862C57-EDFC-DC2E-ACA7-ACCDA1CA21D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flipH="1">
            <a:off x="6400304" y="3787985"/>
            <a:ext cx="390597" cy="390597"/>
          </a:xfrm>
          <a:prstGeom prst="rect">
            <a:avLst/>
          </a:prstGeom>
        </p:spPr>
      </p:pic>
      <p:pic>
        <p:nvPicPr>
          <p:cNvPr id="21" name="Graphic 20">
            <a:extLst>
              <a:ext uri="{FF2B5EF4-FFF2-40B4-BE49-F238E27FC236}">
                <a16:creationId xmlns:a16="http://schemas.microsoft.com/office/drawing/2014/main" id="{5C2D5BF5-74B1-D3A3-8A2F-589F5A24B89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38334" y="3332271"/>
            <a:ext cx="329218" cy="329218"/>
          </a:xfrm>
          <a:prstGeom prst="rect">
            <a:avLst/>
          </a:prstGeom>
        </p:spPr>
      </p:pic>
      <p:pic>
        <p:nvPicPr>
          <p:cNvPr id="20" name="Picture 19" descr="A picture containing application&#10;&#10;Description automatically generated">
            <a:extLst>
              <a:ext uri="{FF2B5EF4-FFF2-40B4-BE49-F238E27FC236}">
                <a16:creationId xmlns:a16="http://schemas.microsoft.com/office/drawing/2014/main" id="{407B7D2A-A85A-E0C4-5258-779B155BA6A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871788" y="5876699"/>
            <a:ext cx="1867409" cy="1208453"/>
          </a:xfrm>
          <a:prstGeom prst="rect">
            <a:avLst/>
          </a:prstGeom>
        </p:spPr>
      </p:pic>
    </p:spTree>
    <p:extLst>
      <p:ext uri="{BB962C8B-B14F-4D97-AF65-F5344CB8AC3E}">
        <p14:creationId xmlns:p14="http://schemas.microsoft.com/office/powerpoint/2010/main" val="38649295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Executive Summary</a:t>
            </a: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1750595" y="2111807"/>
            <a:ext cx="9615566" cy="377190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EDB"/>
              </a:buClr>
              <a:defRPr/>
            </a:pPr>
            <a:r>
              <a:rPr lang="en-US" b="1" noProof="0">
                <a:solidFill>
                  <a:srgbClr val="000000"/>
                </a:solidFill>
                <a:latin typeface="Roboto" panose="020B0604020202020204"/>
              </a:rPr>
              <a:t>This opening section should include the most important aspects </a:t>
            </a:r>
            <a:r>
              <a:rPr lang="en-US">
                <a:solidFill>
                  <a:srgbClr val="000000"/>
                </a:solidFill>
                <a:latin typeface="Roboto" panose="020B0604020202020204"/>
              </a:rPr>
              <a:t>to invite the</a:t>
            </a:r>
            <a:r>
              <a:rPr lang="en-US" b="1" noProof="0">
                <a:solidFill>
                  <a:srgbClr val="000000"/>
                </a:solidFill>
                <a:latin typeface="Roboto" panose="020B0604020202020204"/>
              </a:rPr>
              <a:t> potential investor to explore the more detailed project information.</a:t>
            </a:r>
          </a:p>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lang="en-US" b="1" noProof="0">
                <a:solidFill>
                  <a:srgbClr val="000000"/>
                </a:solidFill>
                <a:latin typeface="Roboto" panose="020B0604020202020204"/>
              </a:rPr>
              <a:t>Covered sections should include:</a:t>
            </a:r>
            <a:endParaRPr lang="en-US" b="1" noProof="0">
              <a:solidFill>
                <a:srgbClr val="000000"/>
              </a:solidFill>
              <a:latin typeface="Roboto" panose="020B0604020202020204"/>
              <a:ea typeface="Roboto"/>
              <a:cs typeface="Roboto"/>
            </a:endParaRPr>
          </a:p>
          <a:p>
            <a:pPr marL="285750" marR="0" lvl="0" indent="-285750" algn="l" defTabSz="914400" rtl="0" eaLnBrk="1" fontAlgn="auto" latinLnBrk="0" hangingPunct="1">
              <a:lnSpc>
                <a:spcPct val="100000"/>
              </a:lnSpc>
              <a:spcBef>
                <a:spcPts val="1600"/>
              </a:spcBef>
              <a:spcAft>
                <a:spcPts val="0"/>
              </a:spcAft>
              <a:buClr>
                <a:srgbClr val="009EDB"/>
              </a:buClr>
              <a:buSzTx/>
              <a:buFont typeface="System Font Regular"/>
              <a:buChar char="-"/>
              <a:tabLst/>
              <a:defRPr/>
            </a:pPr>
            <a:r>
              <a:rPr lang="en-US" b="0" noProof="0">
                <a:solidFill>
                  <a:srgbClr val="000000"/>
                </a:solidFill>
                <a:latin typeface="Roboto" panose="020B0604020202020204"/>
              </a:rPr>
              <a:t>Brief summary of the project, including most important financials</a:t>
            </a:r>
            <a:endParaRPr lang="en-US" b="0" noProof="0">
              <a:solidFill>
                <a:srgbClr val="000000"/>
              </a:solidFill>
              <a:latin typeface="Roboto" panose="020B0604020202020204"/>
              <a:ea typeface="Roboto"/>
              <a:cs typeface="Roboto"/>
            </a:endParaRPr>
          </a:p>
          <a:p>
            <a:pPr marL="285750" marR="0" lvl="0" indent="-285750" algn="l" defTabSz="914400" rtl="0" eaLnBrk="1" fontAlgn="auto" latinLnBrk="0" hangingPunct="1">
              <a:lnSpc>
                <a:spcPct val="100000"/>
              </a:lnSpc>
              <a:spcBef>
                <a:spcPts val="1600"/>
              </a:spcBef>
              <a:spcAft>
                <a:spcPts val="0"/>
              </a:spcAft>
              <a:buClr>
                <a:srgbClr val="009EDB"/>
              </a:buClr>
              <a:buSzTx/>
              <a:buFont typeface="System Font Regular"/>
              <a:buChar char="-"/>
              <a:tabLst/>
              <a:defRPr/>
            </a:pPr>
            <a:r>
              <a:rPr lang="en-US" b="0">
                <a:solidFill>
                  <a:srgbClr val="000000"/>
                </a:solidFill>
                <a:latin typeface="Roboto" panose="020B0604020202020204"/>
              </a:rPr>
              <a:t>SDG Targets</a:t>
            </a:r>
            <a:endParaRPr lang="en-US" b="0">
              <a:solidFill>
                <a:srgbClr val="000000"/>
              </a:solidFill>
              <a:latin typeface="Roboto" panose="020B0604020202020204"/>
              <a:ea typeface="Roboto"/>
              <a:cs typeface="Roboto"/>
            </a:endParaRPr>
          </a:p>
          <a:p>
            <a:pPr marL="285750" marR="0" lvl="0" indent="-285750" algn="l" defTabSz="914400" rtl="0" eaLnBrk="1" fontAlgn="auto" latinLnBrk="0" hangingPunct="1">
              <a:lnSpc>
                <a:spcPct val="100000"/>
              </a:lnSpc>
              <a:spcBef>
                <a:spcPts val="1600"/>
              </a:spcBef>
              <a:spcAft>
                <a:spcPts val="0"/>
              </a:spcAft>
              <a:buClr>
                <a:srgbClr val="009EDB"/>
              </a:buClr>
              <a:buSzTx/>
              <a:buFont typeface="System Font Regular"/>
              <a:buChar char="-"/>
              <a:tabLst/>
              <a:defRPr/>
            </a:pPr>
            <a:r>
              <a:rPr kumimoji="0" lang="en-US" b="0" i="0" u="none" strike="noStrike" kern="1200" cap="none" spc="0" normalizeH="0" baseline="0" noProof="0">
                <a:ln>
                  <a:noFill/>
                </a:ln>
                <a:solidFill>
                  <a:srgbClr val="000000"/>
                </a:solidFill>
                <a:effectLst/>
                <a:uLnTx/>
                <a:uFillTx/>
                <a:latin typeface="Roboto" panose="020B0604020202020204"/>
                <a:ea typeface="+mn-ea"/>
                <a:cs typeface="+mn-cs"/>
              </a:rPr>
              <a:t>Problems addressed and what is the impact for the country</a:t>
            </a:r>
            <a:endParaRPr lang="en-US" b="0" i="0" u="none" strike="noStrike" kern="1200" cap="none" spc="0" normalizeH="0" baseline="0" noProof="0">
              <a:ln>
                <a:noFill/>
              </a:ln>
              <a:solidFill>
                <a:srgbClr val="000000"/>
              </a:solidFill>
              <a:effectLst/>
              <a:uLnTx/>
              <a:uFillTx/>
              <a:latin typeface="Roboto" panose="020B0604020202020204"/>
              <a:ea typeface="Roboto"/>
              <a:cs typeface="Roboto"/>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9" name="Graphic 8">
            <a:extLst>
              <a:ext uri="{FF2B5EF4-FFF2-40B4-BE49-F238E27FC236}">
                <a16:creationId xmlns:a16="http://schemas.microsoft.com/office/drawing/2014/main" id="{621DD664-3729-9AD9-6D9E-01C2303E20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6386" y="1686558"/>
            <a:ext cx="457200" cy="457200"/>
          </a:xfrm>
          <a:prstGeom prst="rect">
            <a:avLst/>
          </a:prstGeom>
        </p:spPr>
      </p:pic>
      <p:pic>
        <p:nvPicPr>
          <p:cNvPr id="12" name="Graphic 11">
            <a:extLst>
              <a:ext uri="{FF2B5EF4-FFF2-40B4-BE49-F238E27FC236}">
                <a16:creationId xmlns:a16="http://schemas.microsoft.com/office/drawing/2014/main" id="{85884717-434D-32C8-32E6-F3ED1FE70E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2291" y="490592"/>
            <a:ext cx="706426" cy="706426"/>
          </a:xfrm>
          <a:prstGeom prst="rect">
            <a:avLst/>
          </a:prstGeom>
        </p:spPr>
      </p:pic>
      <p:pic>
        <p:nvPicPr>
          <p:cNvPr id="16" name="Graphic 15">
            <a:extLst>
              <a:ext uri="{FF2B5EF4-FFF2-40B4-BE49-F238E27FC236}">
                <a16:creationId xmlns:a16="http://schemas.microsoft.com/office/drawing/2014/main" id="{ECA77059-097F-B734-1B82-74B8CCE1F2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5136" y="3051652"/>
            <a:ext cx="342900" cy="457200"/>
          </a:xfrm>
          <a:prstGeom prst="rect">
            <a:avLst/>
          </a:prstGeom>
        </p:spPr>
      </p:pic>
      <p:pic>
        <p:nvPicPr>
          <p:cNvPr id="19" name="Graphic 18">
            <a:extLst>
              <a:ext uri="{FF2B5EF4-FFF2-40B4-BE49-F238E27FC236}">
                <a16:creationId xmlns:a16="http://schemas.microsoft.com/office/drawing/2014/main" id="{F6C6B292-7F2C-ED7B-2850-E47153EC00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7986" y="3796635"/>
            <a:ext cx="457200" cy="457200"/>
          </a:xfrm>
          <a:prstGeom prst="rect">
            <a:avLst/>
          </a:prstGeom>
        </p:spPr>
      </p:pic>
      <p:pic>
        <p:nvPicPr>
          <p:cNvPr id="21" name="Graphic 20">
            <a:extLst>
              <a:ext uri="{FF2B5EF4-FFF2-40B4-BE49-F238E27FC236}">
                <a16:creationId xmlns:a16="http://schemas.microsoft.com/office/drawing/2014/main" id="{EC9596CC-4637-A2BE-E85A-7323F866D20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8639" y="2385098"/>
            <a:ext cx="457200" cy="457200"/>
          </a:xfrm>
          <a:prstGeom prst="rect">
            <a:avLst/>
          </a:prstGeom>
        </p:spPr>
      </p:pic>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4122" y="5268368"/>
            <a:ext cx="400050" cy="419100"/>
          </a:xfrm>
          <a:prstGeom prst="rect">
            <a:avLst/>
          </a:prstGeom>
        </p:spPr>
      </p:pic>
      <p:pic>
        <p:nvPicPr>
          <p:cNvPr id="27" name="Picture 26" descr="A picture containing window&#10;&#10;Description automatically generated">
            <a:extLst>
              <a:ext uri="{FF2B5EF4-FFF2-40B4-BE49-F238E27FC236}">
                <a16:creationId xmlns:a16="http://schemas.microsoft.com/office/drawing/2014/main" id="{4C582C9A-5382-8AFF-4BCE-CD7F086BC72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50650" y="4559715"/>
            <a:ext cx="457201" cy="457201"/>
          </a:xfrm>
          <a:prstGeom prst="rect">
            <a:avLst/>
          </a:prstGeom>
        </p:spPr>
      </p:pic>
      <p:pic>
        <p:nvPicPr>
          <p:cNvPr id="2" name="Graphic 1">
            <a:extLst>
              <a:ext uri="{FF2B5EF4-FFF2-40B4-BE49-F238E27FC236}">
                <a16:creationId xmlns:a16="http://schemas.microsoft.com/office/drawing/2014/main" id="{CDDA472B-2C90-0DDA-1985-A24281C7C58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42443" y="5964458"/>
            <a:ext cx="457201" cy="510364"/>
          </a:xfrm>
          <a:prstGeom prst="rect">
            <a:avLst/>
          </a:prstGeom>
        </p:spPr>
      </p:pic>
    </p:spTree>
    <p:extLst>
      <p:ext uri="{BB962C8B-B14F-4D97-AF65-F5344CB8AC3E}">
        <p14:creationId xmlns:p14="http://schemas.microsoft.com/office/powerpoint/2010/main" val="6763251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lang="en-US">
                <a:solidFill>
                  <a:srgbClr val="000000"/>
                </a:solidFill>
                <a:latin typeface="Roboto" panose="020B0604020202020204"/>
              </a:rPr>
              <a:t>Country Overview</a:t>
            </a:r>
            <a:endParaRPr kumimoji="0" lang="en-US" sz="3600" b="1" i="0" u="none" strike="noStrike" kern="1200" cap="none" spc="0" normalizeH="0" baseline="0" noProof="0">
              <a:ln>
                <a:noFill/>
              </a:ln>
              <a:solidFill>
                <a:srgbClr val="000000"/>
              </a:solidFill>
              <a:effectLst/>
              <a:uLnTx/>
              <a:uFillTx/>
              <a:latin typeface="Roboto" panose="020B0604020202020204"/>
              <a:ea typeface="+mj-ea"/>
              <a:cs typeface="+mj-cs"/>
            </a:endParaRPr>
          </a:p>
          <a:p>
            <a:pPr marL="0" marR="0" lvl="0" indent="0" defTabSz="914400" rtl="0" eaLnBrk="1" fontAlgn="auto" latinLnBrk="0" hangingPunct="1">
              <a:lnSpc>
                <a:spcPct val="100000"/>
              </a:lnSpc>
              <a:spcBef>
                <a:spcPct val="0"/>
              </a:spcBef>
              <a:spcAft>
                <a:spcPts val="0"/>
              </a:spcAft>
              <a:buClrTx/>
              <a:buSzTx/>
              <a:buFontTx/>
              <a:buNone/>
              <a:tabLst/>
              <a:defRPr/>
            </a:pPr>
            <a:r>
              <a:rPr lang="en-US" sz="2400">
                <a:solidFill>
                  <a:srgbClr val="000000"/>
                </a:solidFill>
                <a:latin typeface="Roboto" panose="020B0604020202020204"/>
              </a:rPr>
              <a:t>Why invest in your country?</a:t>
            </a:r>
            <a:endParaRPr kumimoji="0" lang="en-US" sz="2400" b="1" i="0" u="none" strike="noStrike" kern="1200" cap="none" spc="0" normalizeH="0" baseline="0" noProof="0">
              <a:ln>
                <a:noFill/>
              </a:ln>
              <a:solidFill>
                <a:srgbClr val="000000"/>
              </a:solidFill>
              <a:effectLst/>
              <a:uLnTx/>
              <a:uFillTx/>
              <a:latin typeface="Roboto" panose="020B0604020202020204"/>
              <a:ea typeface="+mj-ea"/>
              <a:cs typeface="+mj-cs"/>
            </a:endParaRP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1750595" y="2111807"/>
            <a:ext cx="9615566"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lang="en-US" dirty="0">
                <a:solidFill>
                  <a:srgbClr val="000000"/>
                </a:solidFill>
                <a:latin typeface="Roboto" panose="020B0604020202020204"/>
              </a:rPr>
              <a:t>Macroeconomic highlights</a:t>
            </a:r>
            <a:endParaRPr kumimoji="0" lang="en-US" b="1" i="0" u="none" strike="noStrike" kern="1200" cap="none" spc="0" normalizeH="0" baseline="0" noProof="0" dirty="0">
              <a:ln>
                <a:noFill/>
              </a:ln>
              <a:solidFill>
                <a:srgbClr val="000000"/>
              </a:solidFill>
              <a:effectLst/>
              <a:uLnTx/>
              <a:uFillTx/>
              <a:latin typeface="Roboto" panose="020B0604020202020204"/>
              <a:ea typeface="+mn-ea"/>
              <a:cs typeface="+mn-cs"/>
            </a:endParaRP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Roboto" panose="020B0604020202020204"/>
                <a:ea typeface="+mn-ea"/>
                <a:cs typeface="+mn-cs"/>
              </a:rPr>
              <a:t>Background</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800" dirty="0">
                <a:solidFill>
                  <a:srgbClr val="000000"/>
                </a:solidFill>
                <a:latin typeface="Roboto" panose="020B0604020202020204"/>
              </a:rPr>
              <a:t>Elements from ‘</a:t>
            </a:r>
            <a:r>
              <a:rPr lang="en-US" sz="1800" i="1" dirty="0">
                <a:solidFill>
                  <a:srgbClr val="000000"/>
                </a:solidFill>
                <a:latin typeface="Roboto" panose="020B0604020202020204"/>
              </a:rPr>
              <a:t>What makes a good investor presentation?’</a:t>
            </a:r>
          </a:p>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kumimoji="0" lang="en-US" b="1" i="0" u="none" strike="noStrike" kern="1200" cap="none" spc="0" normalizeH="0" baseline="0" noProof="0" dirty="0">
                <a:ln>
                  <a:noFill/>
                </a:ln>
                <a:solidFill>
                  <a:srgbClr val="000000"/>
                </a:solidFill>
                <a:effectLst/>
                <a:uLnTx/>
                <a:uFillTx/>
                <a:latin typeface="Roboto" panose="020B0604020202020204"/>
                <a:ea typeface="+mn-ea"/>
                <a:cs typeface="+mn-cs"/>
              </a:rPr>
              <a:t>Background of </a:t>
            </a:r>
            <a:r>
              <a:rPr lang="en-US" dirty="0">
                <a:solidFill>
                  <a:srgbClr val="000000"/>
                </a:solidFill>
                <a:latin typeface="Roboto" panose="020B0604020202020204"/>
              </a:rPr>
              <a:t>your country</a:t>
            </a:r>
            <a:endParaRPr kumimoji="0" lang="en-US" b="1" i="0" u="none" strike="noStrike" kern="1200" cap="none" spc="0" normalizeH="0" baseline="0" noProof="0" dirty="0">
              <a:ln>
                <a:noFill/>
              </a:ln>
              <a:solidFill>
                <a:srgbClr val="000000"/>
              </a:solidFill>
              <a:effectLst/>
              <a:uLnTx/>
              <a:uFillTx/>
              <a:latin typeface="Roboto" panose="020B0604020202020204"/>
              <a:ea typeface="+mn-ea"/>
              <a:cs typeface="+mn-cs"/>
            </a:endParaRP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kumimoji="0" lang="en-US" sz="1800" i="0" u="none" strike="noStrike" kern="1200" cap="none" spc="0" normalizeH="0" baseline="0" noProof="0" dirty="0">
                <a:ln>
                  <a:noFill/>
                </a:ln>
                <a:solidFill>
                  <a:srgbClr val="000000"/>
                </a:solidFill>
                <a:effectLst/>
                <a:uLnTx/>
                <a:uFillTx/>
                <a:latin typeface="Roboto" panose="020B0604020202020204"/>
                <a:ea typeface="+mn-ea"/>
                <a:cs typeface="+mn-cs"/>
              </a:rPr>
              <a:t>Key country stats</a:t>
            </a:r>
            <a:endParaRPr kumimoji="0" lang="en-US" sz="1800" b="1" i="0" u="none" strike="noStrike" kern="1200" cap="none" spc="0" normalizeH="0" baseline="0" noProof="0" dirty="0">
              <a:ln>
                <a:noFill/>
              </a:ln>
              <a:solidFill>
                <a:srgbClr val="000000"/>
              </a:solidFill>
              <a:effectLst/>
              <a:uLnTx/>
              <a:uFillTx/>
              <a:latin typeface="Roboto" panose="020B0604020202020204"/>
              <a:ea typeface="+mn-ea"/>
              <a:cs typeface="+mn-cs"/>
            </a:endParaRPr>
          </a:p>
          <a:p>
            <a:pPr marL="7938" marR="0" lvl="1" indent="0" algn="l" defTabSz="914400" rtl="0" eaLnBrk="1" fontAlgn="auto" latinLnBrk="0" hangingPunct="1">
              <a:lnSpc>
                <a:spcPct val="110000"/>
              </a:lnSpc>
              <a:spcBef>
                <a:spcPts val="800"/>
              </a:spcBef>
              <a:spcAft>
                <a:spcPts val="0"/>
              </a:spcAft>
              <a:buClr>
                <a:srgbClr val="009EDB"/>
              </a:buClr>
              <a:buSzTx/>
              <a:buNone/>
              <a:tabLst/>
              <a:defRPr/>
            </a:pPr>
            <a:r>
              <a:rPr kumimoji="0" lang="en-US" sz="1800" b="1" i="0" u="none" strike="noStrike" kern="1200" cap="none" spc="0" normalizeH="0" baseline="0" noProof="0" dirty="0">
                <a:ln>
                  <a:noFill/>
                </a:ln>
                <a:solidFill>
                  <a:srgbClr val="000000"/>
                </a:solidFill>
                <a:effectLst/>
                <a:uLnTx/>
                <a:uFillTx/>
                <a:latin typeface="Roboto" panose="020B0604020202020204"/>
                <a:ea typeface="+mn-ea"/>
                <a:cs typeface="+mn-cs"/>
              </a:rPr>
              <a:t>Why choose your country/project?</a:t>
            </a:r>
            <a:endParaRPr kumimoji="0" lang="en-US" sz="1800" i="0" u="none" strike="noStrike" kern="1200" cap="none" spc="0" normalizeH="0" baseline="0" noProof="0" dirty="0">
              <a:ln>
                <a:noFill/>
              </a:ln>
              <a:solidFill>
                <a:srgbClr val="000000"/>
              </a:solidFill>
              <a:effectLst/>
              <a:uLnTx/>
              <a:uFillTx/>
              <a:latin typeface="Roboto" panose="020B0604020202020204"/>
              <a:ea typeface="+mn-ea"/>
              <a:cs typeface="+mn-cs"/>
            </a:endParaRP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kumimoji="0" lang="en-US" sz="1800" i="0" u="none" strike="noStrike" kern="1200" cap="none" spc="0" normalizeH="0" baseline="0" noProof="0" dirty="0">
                <a:ln>
                  <a:noFill/>
                </a:ln>
                <a:solidFill>
                  <a:srgbClr val="000000"/>
                </a:solidFill>
                <a:effectLst/>
                <a:uLnTx/>
                <a:uFillTx/>
                <a:latin typeface="Roboto" panose="020B0604020202020204"/>
                <a:ea typeface="+mn-ea"/>
                <a:cs typeface="+mn-cs"/>
              </a:rPr>
              <a:t>Market growth forecast</a:t>
            </a:r>
          </a:p>
          <a:p>
            <a:pPr lvl="1">
              <a:buClr>
                <a:srgbClr val="009EDB"/>
              </a:buClr>
              <a:buFont typeface="System Font Regular"/>
              <a:buChar char="-"/>
            </a:pPr>
            <a:r>
              <a:rPr lang="en-US" sz="1800" dirty="0">
                <a:solidFill>
                  <a:srgbClr val="000000"/>
                </a:solidFill>
                <a:latin typeface="Roboto" panose="02000000000000000000" pitchFamily="2" charset="0"/>
                <a:ea typeface="Roboto" panose="02000000000000000000" pitchFamily="2" charset="0"/>
              </a:rPr>
              <a:t>Is there any government incentive (</a:t>
            </a:r>
            <a:r>
              <a:rPr lang="en-GB" sz="1800" dirty="0">
                <a:latin typeface="Roboto" panose="02000000000000000000" pitchFamily="2" charset="0"/>
                <a:ea typeface="Roboto" panose="02000000000000000000" pitchFamily="2" charset="0"/>
              </a:rPr>
              <a:t>Provision of sovereign guarantees,</a:t>
            </a:r>
            <a:r>
              <a:rPr lang="en-US" sz="1800" dirty="0">
                <a:latin typeface="Roboto" panose="02000000000000000000" pitchFamily="2" charset="0"/>
                <a:ea typeface="Roboto" panose="02000000000000000000" pitchFamily="2" charset="0"/>
              </a:rPr>
              <a:t> </a:t>
            </a:r>
            <a:r>
              <a:rPr lang="en-GB" sz="1800" dirty="0">
                <a:latin typeface="Roboto" panose="02000000000000000000" pitchFamily="2" charset="0"/>
                <a:ea typeface="Roboto" panose="02000000000000000000" pitchFamily="2" charset="0"/>
              </a:rPr>
              <a:t>Credit enhancements</a:t>
            </a:r>
            <a:r>
              <a:rPr lang="en-US" sz="1800" dirty="0">
                <a:latin typeface="Roboto" panose="02000000000000000000" pitchFamily="2" charset="0"/>
                <a:ea typeface="Roboto" panose="02000000000000000000" pitchFamily="2" charset="0"/>
              </a:rPr>
              <a:t>, </a:t>
            </a:r>
            <a:r>
              <a:rPr lang="en-GB" sz="1800" dirty="0">
                <a:latin typeface="Roboto" panose="02000000000000000000" pitchFamily="2" charset="0"/>
                <a:ea typeface="Roboto" panose="02000000000000000000" pitchFamily="2" charset="0"/>
              </a:rPr>
              <a:t>Specific government incentives (tax, VAT, personnel, and others), etc.</a:t>
            </a:r>
            <a:endParaRPr kumimoji="0" lang="en-US" sz="1800" b="1" i="0" u="none" strike="noStrike" kern="1200" cap="none" spc="0" normalizeH="0" baseline="0" noProof="0" dirty="0">
              <a:ln>
                <a:noFill/>
              </a:ln>
              <a:solidFill>
                <a:srgbClr val="000000"/>
              </a:solidFill>
              <a:effectLst/>
              <a:uLnTx/>
              <a:uFillTx/>
              <a:latin typeface="Roboto" panose="020B0604020202020204"/>
              <a:ea typeface="+mn-ea"/>
              <a:cs typeface="+mn-cs"/>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9" name="Graphic 8">
            <a:extLst>
              <a:ext uri="{FF2B5EF4-FFF2-40B4-BE49-F238E27FC236}">
                <a16:creationId xmlns:a16="http://schemas.microsoft.com/office/drawing/2014/main" id="{621DD664-3729-9AD9-6D9E-01C2303E20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6386" y="2332941"/>
            <a:ext cx="457200" cy="457200"/>
          </a:xfrm>
          <a:prstGeom prst="rect">
            <a:avLst/>
          </a:prstGeom>
        </p:spPr>
      </p:pic>
      <p:pic>
        <p:nvPicPr>
          <p:cNvPr id="12" name="Graphic 11">
            <a:extLst>
              <a:ext uri="{FF2B5EF4-FFF2-40B4-BE49-F238E27FC236}">
                <a16:creationId xmlns:a16="http://schemas.microsoft.com/office/drawing/2014/main" id="{85884717-434D-32C8-32E6-F3ED1FE70E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5136" y="1603330"/>
            <a:ext cx="457200" cy="457200"/>
          </a:xfrm>
          <a:prstGeom prst="rect">
            <a:avLst/>
          </a:prstGeom>
        </p:spPr>
      </p:pic>
      <p:pic>
        <p:nvPicPr>
          <p:cNvPr id="16" name="Graphic 15">
            <a:extLst>
              <a:ext uri="{FF2B5EF4-FFF2-40B4-BE49-F238E27FC236}">
                <a16:creationId xmlns:a16="http://schemas.microsoft.com/office/drawing/2014/main" id="{ECA77059-097F-B734-1B82-74B8CCE1F2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5136" y="3895103"/>
            <a:ext cx="342900" cy="457200"/>
          </a:xfrm>
          <a:prstGeom prst="rect">
            <a:avLst/>
          </a:prstGeom>
        </p:spPr>
      </p:pic>
      <p:pic>
        <p:nvPicPr>
          <p:cNvPr id="19" name="Graphic 18">
            <a:extLst>
              <a:ext uri="{FF2B5EF4-FFF2-40B4-BE49-F238E27FC236}">
                <a16:creationId xmlns:a16="http://schemas.microsoft.com/office/drawing/2014/main" id="{F6C6B292-7F2C-ED7B-2850-E47153EC00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7986" y="4781980"/>
            <a:ext cx="457200" cy="457200"/>
          </a:xfrm>
          <a:prstGeom prst="rect">
            <a:avLst/>
          </a:prstGeom>
        </p:spPr>
      </p:pic>
      <p:pic>
        <p:nvPicPr>
          <p:cNvPr id="21" name="Graphic 20">
            <a:extLst>
              <a:ext uri="{FF2B5EF4-FFF2-40B4-BE49-F238E27FC236}">
                <a16:creationId xmlns:a16="http://schemas.microsoft.com/office/drawing/2014/main" id="{EC9596CC-4637-A2BE-E85A-7323F866D20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8639" y="3165492"/>
            <a:ext cx="457200" cy="457200"/>
          </a:xfrm>
          <a:prstGeom prst="rect">
            <a:avLst/>
          </a:prstGeom>
        </p:spPr>
      </p:pic>
      <p:pic>
        <p:nvPicPr>
          <p:cNvPr id="23" name="Graphic 22">
            <a:extLst>
              <a:ext uri="{FF2B5EF4-FFF2-40B4-BE49-F238E27FC236}">
                <a16:creationId xmlns:a16="http://schemas.microsoft.com/office/drawing/2014/main" id="{443AF4B2-B7F2-BF13-BA76-CB9C11D982A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74765" y="448205"/>
            <a:ext cx="639283" cy="713618"/>
          </a:xfrm>
          <a:prstGeom prst="rect">
            <a:avLst/>
          </a:prstGeom>
        </p:spPr>
      </p:pic>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44122" y="6245822"/>
            <a:ext cx="400050" cy="419100"/>
          </a:xfrm>
          <a:prstGeom prst="rect">
            <a:avLst/>
          </a:prstGeom>
        </p:spPr>
      </p:pic>
      <p:pic>
        <p:nvPicPr>
          <p:cNvPr id="27" name="Picture 26" descr="A picture containing window&#10;&#10;Description automatically generated">
            <a:extLst>
              <a:ext uri="{FF2B5EF4-FFF2-40B4-BE49-F238E27FC236}">
                <a16:creationId xmlns:a16="http://schemas.microsoft.com/office/drawing/2014/main" id="{4C582C9A-5382-8AFF-4BCE-CD7F086BC72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50650" y="5560824"/>
            <a:ext cx="457201" cy="457201"/>
          </a:xfrm>
          <a:prstGeom prst="rect">
            <a:avLst/>
          </a:prstGeom>
        </p:spPr>
      </p:pic>
    </p:spTree>
    <p:extLst>
      <p:ext uri="{BB962C8B-B14F-4D97-AF65-F5344CB8AC3E}">
        <p14:creationId xmlns:p14="http://schemas.microsoft.com/office/powerpoint/2010/main" val="33723066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rgbClr val="000000"/>
                </a:solidFill>
                <a:latin typeface="Roboto" panose="020B0604020202020204"/>
              </a:rPr>
              <a:t>Business</a:t>
            </a: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 Climate</a:t>
            </a:r>
          </a:p>
          <a:p>
            <a:pPr>
              <a:defRPr/>
            </a:pPr>
            <a:r>
              <a:rPr kumimoji="0" lang="en-US" sz="2400" b="1" i="0" u="none" strike="noStrike" kern="1200" cap="none" spc="0" normalizeH="0" baseline="0" noProof="0">
                <a:ln>
                  <a:noFill/>
                </a:ln>
                <a:solidFill>
                  <a:srgbClr val="000000"/>
                </a:solidFill>
                <a:effectLst/>
                <a:uLnTx/>
                <a:uFillTx/>
                <a:latin typeface="Roboto" panose="020B0604020202020204"/>
                <a:ea typeface="+mj-ea"/>
                <a:cs typeface="+mj-cs"/>
              </a:rPr>
              <a:t>Key Points of the market</a:t>
            </a: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1750595" y="2111807"/>
            <a:ext cx="9615566" cy="377190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lang="en-US" b="1" noProof="0" dirty="0">
                <a:solidFill>
                  <a:srgbClr val="000000"/>
                </a:solidFill>
                <a:latin typeface="Roboto" panose="020B0604020202020204"/>
              </a:rPr>
              <a:t>Market information</a:t>
            </a:r>
            <a:endParaRPr kumimoji="0" lang="en-US" b="1" i="0" u="none" strike="noStrike" kern="1200" cap="none" spc="0" normalizeH="0" baseline="0" noProof="0" dirty="0">
              <a:ln>
                <a:noFill/>
              </a:ln>
              <a:solidFill>
                <a:srgbClr val="000000"/>
              </a:solidFill>
              <a:effectLst/>
              <a:uLnTx/>
              <a:uFillTx/>
              <a:latin typeface="Roboto" panose="020B0604020202020204"/>
              <a:ea typeface="+mn-ea"/>
              <a:cs typeface="+mn-cs"/>
            </a:endParaRP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solidFill>
                  <a:srgbClr val="000000"/>
                </a:solidFill>
                <a:latin typeface="Roboto" panose="020B0604020202020204"/>
              </a:rPr>
              <a:t>Details of the products and services that the project will deliver</a:t>
            </a:r>
            <a:endParaRPr lang="en-US" sz="1600" dirty="0">
              <a:solidFill>
                <a:srgbClr val="000000"/>
              </a:solidFill>
              <a:latin typeface="Roboto" panose="020B0604020202020204"/>
              <a:ea typeface="Roboto"/>
              <a:cs typeface="Roboto"/>
            </a:endParaRP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solidFill>
                  <a:srgbClr val="000000"/>
                </a:solidFill>
                <a:latin typeface="Roboto" panose="020B0604020202020204"/>
              </a:rPr>
              <a:t>Analysis of the competitive landscape</a:t>
            </a:r>
            <a:endParaRPr lang="en-US" sz="1600" dirty="0">
              <a:solidFill>
                <a:srgbClr val="000000"/>
              </a:solidFill>
              <a:latin typeface="Roboto" panose="020B0604020202020204"/>
              <a:ea typeface="Roboto"/>
              <a:cs typeface="Roboto"/>
            </a:endParaRP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kumimoji="0" lang="en-US" sz="1600" i="0" u="none" strike="noStrike" kern="1200" cap="none" spc="0" normalizeH="0" baseline="0" noProof="0" dirty="0">
                <a:ln>
                  <a:noFill/>
                </a:ln>
                <a:solidFill>
                  <a:srgbClr val="000000"/>
                </a:solidFill>
                <a:effectLst/>
                <a:uLnTx/>
                <a:uFillTx/>
                <a:latin typeface="Roboto" panose="020B0604020202020204"/>
                <a:ea typeface="+mn-ea"/>
                <a:cs typeface="+mn-cs"/>
              </a:rPr>
              <a:t>Market growth forecast</a:t>
            </a:r>
            <a:endParaRPr lang="en-US" sz="1600" i="0" u="none" strike="noStrike" kern="1200" cap="none" spc="0" normalizeH="0" baseline="0" noProof="0" dirty="0">
              <a:ln>
                <a:noFill/>
              </a:ln>
              <a:solidFill>
                <a:srgbClr val="000000"/>
              </a:solidFill>
              <a:effectLst/>
              <a:uLnTx/>
              <a:uFillTx/>
              <a:latin typeface="Roboto" panose="020B0604020202020204"/>
              <a:ea typeface="Roboto"/>
              <a:cs typeface="Roboto"/>
            </a:endParaRPr>
          </a:p>
          <a:p>
            <a:pPr>
              <a:buClr>
                <a:srgbClr val="009EDB"/>
              </a:buClr>
              <a:defRPr/>
            </a:pPr>
            <a:r>
              <a:rPr lang="en-US" b="1" dirty="0">
                <a:solidFill>
                  <a:srgbClr val="000000"/>
                </a:solidFill>
                <a:latin typeface="Roboto" panose="020B0604020202020204"/>
              </a:rPr>
              <a:t>Rationale </a:t>
            </a:r>
            <a:r>
              <a:rPr lang="en-US" dirty="0">
                <a:solidFill>
                  <a:srgbClr val="000000"/>
                </a:solidFill>
                <a:latin typeface="Roboto" panose="020B0604020202020204"/>
              </a:rPr>
              <a:t>and targets</a:t>
            </a:r>
          </a:p>
          <a:p>
            <a:pPr marL="287020" lvl="1">
              <a:buClr>
                <a:srgbClr val="009EDB"/>
              </a:buClr>
              <a:buFont typeface="System Font Regular"/>
              <a:buChar char="-"/>
              <a:defRPr/>
            </a:pPr>
            <a:r>
              <a:rPr lang="en-US" sz="1600" dirty="0">
                <a:solidFill>
                  <a:srgbClr val="000000"/>
                </a:solidFill>
                <a:latin typeface="Roboto" panose="020B0604020202020204"/>
              </a:rPr>
              <a:t>Why is this project important and what are the projected milestones?</a:t>
            </a:r>
          </a:p>
          <a:p>
            <a:pPr marL="13970" marR="0" lvl="1" indent="-285750" algn="l" defTabSz="914400" rtl="0" eaLnBrk="1" fontAlgn="auto" latinLnBrk="0" hangingPunct="1">
              <a:lnSpc>
                <a:spcPct val="110000"/>
              </a:lnSpc>
              <a:spcBef>
                <a:spcPts val="800"/>
              </a:spcBef>
              <a:spcAft>
                <a:spcPts val="0"/>
              </a:spcAft>
              <a:buClr>
                <a:srgbClr val="009EDB"/>
              </a:buClr>
              <a:buSzTx/>
              <a:buFont typeface="System Font Regular"/>
              <a:buChar char="-"/>
              <a:tabLst/>
              <a:defRPr/>
            </a:pPr>
            <a:endParaRPr lang="en-US" sz="1600" i="0" u="none" strike="noStrike" kern="1200" cap="none" spc="0" normalizeH="0" baseline="0" noProof="0" dirty="0">
              <a:ln>
                <a:noFill/>
              </a:ln>
              <a:solidFill>
                <a:srgbClr val="000000"/>
              </a:solidFill>
              <a:effectLst/>
              <a:uLnTx/>
              <a:uFillTx/>
              <a:latin typeface="Roboto" panose="020B0604020202020204"/>
              <a:ea typeface="Roboto" panose="020B0604020202020204"/>
              <a:cs typeface="Roboto" panose="020B0604020202020204"/>
            </a:endParaRPr>
          </a:p>
          <a:p>
            <a:pPr marL="7620" marR="0" lvl="1" algn="l" defTabSz="914400" rtl="0" eaLnBrk="1" fontAlgn="auto" latinLnBrk="0" hangingPunct="1">
              <a:lnSpc>
                <a:spcPct val="110000"/>
              </a:lnSpc>
              <a:spcBef>
                <a:spcPts val="800"/>
              </a:spcBef>
              <a:spcAft>
                <a:spcPts val="0"/>
              </a:spcAft>
              <a:buClr>
                <a:srgbClr val="009EDB"/>
              </a:buClr>
              <a:buSzTx/>
              <a:tabLst/>
              <a:defRPr/>
            </a:pPr>
            <a:endParaRPr lang="en-US" sz="1800" b="1" i="0" u="none" strike="noStrike" kern="1200" cap="none" spc="0" normalizeH="0" baseline="0" noProof="0" dirty="0">
              <a:ln>
                <a:noFill/>
              </a:ln>
              <a:solidFill>
                <a:srgbClr val="000000"/>
              </a:solidFill>
              <a:effectLst/>
              <a:uLnTx/>
              <a:uFillTx/>
              <a:latin typeface="Roboto" panose="020B0604020202020204"/>
              <a:ea typeface="Roboto" panose="020B0604020202020204"/>
              <a:cs typeface="Roboto" panose="020B0604020202020204"/>
            </a:endParaRPr>
          </a:p>
          <a:p>
            <a:pPr marL="7620" marR="0" lvl="1" algn="l" defTabSz="914400" rtl="0" eaLnBrk="1" fontAlgn="auto" latinLnBrk="0" hangingPunct="1">
              <a:lnSpc>
                <a:spcPct val="110000"/>
              </a:lnSpc>
              <a:spcBef>
                <a:spcPts val="800"/>
              </a:spcBef>
              <a:spcAft>
                <a:spcPts val="0"/>
              </a:spcAft>
              <a:buClr>
                <a:srgbClr val="009EDB"/>
              </a:buClr>
              <a:buSzTx/>
              <a:tabLst/>
              <a:defRPr/>
            </a:pPr>
            <a:endParaRPr lang="en-US" sz="1800" b="1" i="0" u="none" strike="noStrike" kern="1200" cap="none" spc="0" normalizeH="0" baseline="0" noProof="0" dirty="0">
              <a:ln>
                <a:noFill/>
              </a:ln>
              <a:solidFill>
                <a:srgbClr val="000000"/>
              </a:solidFill>
              <a:effectLst/>
              <a:uLnTx/>
              <a:uFillTx/>
              <a:latin typeface="Roboto" panose="020B0604020202020204"/>
              <a:ea typeface="Roboto" panose="020B0604020202020204"/>
              <a:cs typeface="Roboto" panose="020B0604020202020204"/>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9" name="Graphic 8">
            <a:extLst>
              <a:ext uri="{FF2B5EF4-FFF2-40B4-BE49-F238E27FC236}">
                <a16:creationId xmlns:a16="http://schemas.microsoft.com/office/drawing/2014/main" id="{621DD664-3729-9AD9-6D9E-01C2303E20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0451" y="436255"/>
            <a:ext cx="680144" cy="680144"/>
          </a:xfrm>
          <a:prstGeom prst="rect">
            <a:avLst/>
          </a:prstGeom>
        </p:spPr>
      </p:pic>
      <p:pic>
        <p:nvPicPr>
          <p:cNvPr id="16" name="Graphic 15">
            <a:extLst>
              <a:ext uri="{FF2B5EF4-FFF2-40B4-BE49-F238E27FC236}">
                <a16:creationId xmlns:a16="http://schemas.microsoft.com/office/drawing/2014/main" id="{ECA77059-097F-B734-1B82-74B8CCE1F23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5136" y="2364277"/>
            <a:ext cx="342900" cy="457200"/>
          </a:xfrm>
          <a:prstGeom prst="rect">
            <a:avLst/>
          </a:prstGeom>
        </p:spPr>
      </p:pic>
      <p:pic>
        <p:nvPicPr>
          <p:cNvPr id="19" name="Graphic 18">
            <a:extLst>
              <a:ext uri="{FF2B5EF4-FFF2-40B4-BE49-F238E27FC236}">
                <a16:creationId xmlns:a16="http://schemas.microsoft.com/office/drawing/2014/main" id="{F6C6B292-7F2C-ED7B-2850-E47153EC00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7986" y="3109260"/>
            <a:ext cx="457200" cy="457200"/>
          </a:xfrm>
          <a:prstGeom prst="rect">
            <a:avLst/>
          </a:prstGeom>
        </p:spPr>
      </p:pic>
      <p:pic>
        <p:nvPicPr>
          <p:cNvPr id="21" name="Graphic 20">
            <a:extLst>
              <a:ext uri="{FF2B5EF4-FFF2-40B4-BE49-F238E27FC236}">
                <a16:creationId xmlns:a16="http://schemas.microsoft.com/office/drawing/2014/main" id="{EC9596CC-4637-A2BE-E85A-7323F866D20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2720" y="1706151"/>
            <a:ext cx="457200" cy="457200"/>
          </a:xfrm>
          <a:prstGeom prst="rect">
            <a:avLst/>
          </a:prstGeom>
        </p:spPr>
      </p:pic>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4122" y="4580993"/>
            <a:ext cx="400050" cy="419100"/>
          </a:xfrm>
          <a:prstGeom prst="rect">
            <a:avLst/>
          </a:prstGeom>
        </p:spPr>
      </p:pic>
      <p:pic>
        <p:nvPicPr>
          <p:cNvPr id="27" name="Picture 26" descr="A picture containing window&#10;&#10;Description automatically generated">
            <a:extLst>
              <a:ext uri="{FF2B5EF4-FFF2-40B4-BE49-F238E27FC236}">
                <a16:creationId xmlns:a16="http://schemas.microsoft.com/office/drawing/2014/main" id="{4C582C9A-5382-8AFF-4BCE-CD7F086BC72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0650" y="3872340"/>
            <a:ext cx="457201" cy="457201"/>
          </a:xfrm>
          <a:prstGeom prst="rect">
            <a:avLst/>
          </a:prstGeom>
        </p:spPr>
      </p:pic>
      <p:pic>
        <p:nvPicPr>
          <p:cNvPr id="2" name="Graphic 1">
            <a:extLst>
              <a:ext uri="{FF2B5EF4-FFF2-40B4-BE49-F238E27FC236}">
                <a16:creationId xmlns:a16="http://schemas.microsoft.com/office/drawing/2014/main" id="{CDDA472B-2C90-0DDA-1985-A24281C7C58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2443" y="5277083"/>
            <a:ext cx="457201" cy="510364"/>
          </a:xfrm>
          <a:prstGeom prst="rect">
            <a:avLst/>
          </a:prstGeom>
        </p:spPr>
      </p:pic>
      <p:pic>
        <p:nvPicPr>
          <p:cNvPr id="3" name="Graphic 2">
            <a:extLst>
              <a:ext uri="{FF2B5EF4-FFF2-40B4-BE49-F238E27FC236}">
                <a16:creationId xmlns:a16="http://schemas.microsoft.com/office/drawing/2014/main" id="{53835766-EA7D-2417-246E-26F165FA25E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0072" y="6015861"/>
            <a:ext cx="457200" cy="457200"/>
          </a:xfrm>
          <a:prstGeom prst="rect">
            <a:avLst/>
          </a:prstGeom>
        </p:spPr>
      </p:pic>
    </p:spTree>
    <p:extLst>
      <p:ext uri="{BB962C8B-B14F-4D97-AF65-F5344CB8AC3E}">
        <p14:creationId xmlns:p14="http://schemas.microsoft.com/office/powerpoint/2010/main" val="32608587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a:solidFill>
                  <a:srgbClr val="000000"/>
                </a:solidFill>
                <a:latin typeface="Roboto" panose="020B0604020202020204"/>
              </a:rPr>
              <a:t>Project Overview</a:t>
            </a:r>
            <a:endParaRPr kumimoji="0" lang="en-US" sz="2400" b="1" i="0" u="none" strike="noStrike" kern="1200" cap="none" spc="0" normalizeH="0" baseline="0" noProof="0">
              <a:ln>
                <a:noFill/>
              </a:ln>
              <a:solidFill>
                <a:srgbClr val="000000"/>
              </a:solidFill>
              <a:effectLst/>
              <a:uLnTx/>
              <a:uFillTx/>
              <a:latin typeface="Roboto" panose="020B0604020202020204"/>
              <a:ea typeface="+mj-ea"/>
              <a:cs typeface="+mj-cs"/>
            </a:endParaRP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1750595" y="2111807"/>
            <a:ext cx="9615566" cy="377190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kumimoji="0" lang="en-US" b="1" i="0" u="none" strike="noStrike" kern="1200" cap="none" spc="0" normalizeH="0" baseline="0" noProof="0" dirty="0">
                <a:ln>
                  <a:noFill/>
                </a:ln>
                <a:solidFill>
                  <a:srgbClr val="000000"/>
                </a:solidFill>
                <a:effectLst/>
                <a:uLnTx/>
                <a:uFillTx/>
                <a:latin typeface="Roboto"/>
                <a:ea typeface="Roboto"/>
                <a:cs typeface="Roboto"/>
              </a:rPr>
              <a:t>Business Case</a:t>
            </a:r>
            <a:endParaRPr kumimoji="0" lang="en-US" b="0" i="0" u="none" strike="noStrike" kern="1200" cap="none" spc="0" normalizeH="0" baseline="0" noProof="0" dirty="0">
              <a:ln>
                <a:noFill/>
              </a:ln>
              <a:solidFill>
                <a:srgbClr val="000000"/>
              </a:solidFill>
              <a:effectLst/>
              <a:uLnTx/>
              <a:uFillTx/>
              <a:latin typeface="Roboto"/>
              <a:ea typeface="Roboto"/>
              <a:cs typeface="Roboto"/>
            </a:endParaRP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a:ea typeface="Roboto"/>
                <a:cs typeface="Roboto"/>
              </a:rPr>
              <a:t>Explain why the project will succeed both financially and operationally.</a:t>
            </a: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a:ea typeface="Roboto"/>
                <a:cs typeface="Roboto"/>
              </a:rPr>
              <a:t>Why is the project needed in the marketplace, who will use it, how revenue will be earned.</a:t>
            </a: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a:ea typeface="Roboto"/>
                <a:cs typeface="Roboto"/>
              </a:rPr>
              <a:t>What is the use of proceeds and how will the investment help contribute to success.</a:t>
            </a:r>
          </a:p>
          <a:p>
            <a:pPr marL="7620" marR="0" lvl="1" indent="0" algn="l" defTabSz="914400" rtl="0" eaLnBrk="1" fontAlgn="auto" latinLnBrk="0" hangingPunct="1">
              <a:lnSpc>
                <a:spcPct val="110000"/>
              </a:lnSpc>
              <a:spcBef>
                <a:spcPts val="800"/>
              </a:spcBef>
              <a:spcAft>
                <a:spcPts val="0"/>
              </a:spcAft>
              <a:buClr>
                <a:srgbClr val="009EDB"/>
              </a:buClr>
              <a:buSzTx/>
              <a:buNone/>
              <a:tabLst/>
              <a:defRPr/>
            </a:pPr>
            <a:r>
              <a:rPr lang="en-US" sz="1800" b="1" dirty="0">
                <a:solidFill>
                  <a:srgbClr val="000000"/>
                </a:solidFill>
                <a:latin typeface="Roboto"/>
                <a:ea typeface="Roboto"/>
                <a:cs typeface="Roboto"/>
              </a:rPr>
              <a:t>Structure</a:t>
            </a:r>
          </a:p>
          <a:p>
            <a:pPr marL="287020" lvl="1">
              <a:buClr>
                <a:srgbClr val="009EDB"/>
              </a:buClr>
              <a:buFont typeface="System Font Regular"/>
              <a:buChar char="-"/>
              <a:defRPr/>
            </a:pPr>
            <a:r>
              <a:rPr lang="en-GB" sz="1600" dirty="0">
                <a:latin typeface="Roboto"/>
                <a:ea typeface="Roboto"/>
                <a:cs typeface="Roboto"/>
              </a:rPr>
              <a:t>What is the financing structure  – PPP, debt, equity, bond, etc. </a:t>
            </a:r>
            <a:endParaRPr lang="en-US" sz="1600" dirty="0">
              <a:latin typeface="Roboto"/>
              <a:ea typeface="Roboto"/>
              <a:cs typeface="Roboto"/>
            </a:endParaRP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a:ea typeface="Roboto"/>
                <a:cs typeface="Roboto"/>
              </a:rPr>
              <a:t>List all the relevant partners in the transaction.</a:t>
            </a: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a:ea typeface="Roboto"/>
                <a:cs typeface="Roboto"/>
              </a:rPr>
              <a:t>Note your experience in successful developments of similar projects.</a:t>
            </a:r>
          </a:p>
          <a:p>
            <a:pPr marL="287020"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a:ea typeface="Roboto"/>
                <a:cs typeface="Roboto"/>
              </a:rPr>
              <a:t>If you have not yet chosen the project structure, explain why, and try to understand what type of structure investors are seeking and make certain it corresponds to your needs.</a:t>
            </a:r>
          </a:p>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16" name="Graphic 15">
            <a:extLst>
              <a:ext uri="{FF2B5EF4-FFF2-40B4-BE49-F238E27FC236}">
                <a16:creationId xmlns:a16="http://schemas.microsoft.com/office/drawing/2014/main" id="{ECA77059-097F-B734-1B82-74B8CCE1F2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5136" y="1729801"/>
            <a:ext cx="342900" cy="457200"/>
          </a:xfrm>
          <a:prstGeom prst="rect">
            <a:avLst/>
          </a:prstGeom>
        </p:spPr>
      </p:pic>
      <p:pic>
        <p:nvPicPr>
          <p:cNvPr id="19" name="Graphic 18">
            <a:extLst>
              <a:ext uri="{FF2B5EF4-FFF2-40B4-BE49-F238E27FC236}">
                <a16:creationId xmlns:a16="http://schemas.microsoft.com/office/drawing/2014/main" id="{F6C6B292-7F2C-ED7B-2850-E47153EC00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7986" y="2474784"/>
            <a:ext cx="457200" cy="457200"/>
          </a:xfrm>
          <a:prstGeom prst="rect">
            <a:avLst/>
          </a:prstGeom>
        </p:spPr>
      </p:pic>
      <p:pic>
        <p:nvPicPr>
          <p:cNvPr id="21" name="Graphic 20">
            <a:extLst>
              <a:ext uri="{FF2B5EF4-FFF2-40B4-BE49-F238E27FC236}">
                <a16:creationId xmlns:a16="http://schemas.microsoft.com/office/drawing/2014/main" id="{EC9596CC-4637-A2BE-E85A-7323F866D2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0623" y="371875"/>
            <a:ext cx="813114" cy="813114"/>
          </a:xfrm>
          <a:prstGeom prst="rect">
            <a:avLst/>
          </a:prstGeom>
        </p:spPr>
      </p:pic>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44122" y="3946517"/>
            <a:ext cx="400050" cy="419100"/>
          </a:xfrm>
          <a:prstGeom prst="rect">
            <a:avLst/>
          </a:prstGeom>
        </p:spPr>
      </p:pic>
      <p:pic>
        <p:nvPicPr>
          <p:cNvPr id="27" name="Picture 26" descr="A picture containing window&#10;&#10;Description automatically generated">
            <a:extLst>
              <a:ext uri="{FF2B5EF4-FFF2-40B4-BE49-F238E27FC236}">
                <a16:creationId xmlns:a16="http://schemas.microsoft.com/office/drawing/2014/main" id="{4C582C9A-5382-8AFF-4BCE-CD7F086BC72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0650" y="3237864"/>
            <a:ext cx="457201" cy="457201"/>
          </a:xfrm>
          <a:prstGeom prst="rect">
            <a:avLst/>
          </a:prstGeom>
        </p:spPr>
      </p:pic>
      <p:pic>
        <p:nvPicPr>
          <p:cNvPr id="2" name="Graphic 1">
            <a:extLst>
              <a:ext uri="{FF2B5EF4-FFF2-40B4-BE49-F238E27FC236}">
                <a16:creationId xmlns:a16="http://schemas.microsoft.com/office/drawing/2014/main" id="{CDDA472B-2C90-0DDA-1985-A24281C7C58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42443" y="4642607"/>
            <a:ext cx="457201" cy="510364"/>
          </a:xfrm>
          <a:prstGeom prst="rect">
            <a:avLst/>
          </a:prstGeom>
        </p:spPr>
      </p:pic>
      <p:pic>
        <p:nvPicPr>
          <p:cNvPr id="3" name="Graphic 2">
            <a:extLst>
              <a:ext uri="{FF2B5EF4-FFF2-40B4-BE49-F238E27FC236}">
                <a16:creationId xmlns:a16="http://schemas.microsoft.com/office/drawing/2014/main" id="{53835766-EA7D-2417-246E-26F165FA25E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30072" y="5381385"/>
            <a:ext cx="457200" cy="457200"/>
          </a:xfrm>
          <a:prstGeom prst="rect">
            <a:avLst/>
          </a:prstGeom>
        </p:spPr>
      </p:pic>
      <p:pic>
        <p:nvPicPr>
          <p:cNvPr id="6" name="Graphic 5">
            <a:extLst>
              <a:ext uri="{FF2B5EF4-FFF2-40B4-BE49-F238E27FC236}">
                <a16:creationId xmlns:a16="http://schemas.microsoft.com/office/drawing/2014/main" id="{6F42F767-1E07-3461-EC0E-A5FF20C41DA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5338" y="6128943"/>
            <a:ext cx="520502" cy="520502"/>
          </a:xfrm>
          <a:prstGeom prst="rect">
            <a:avLst/>
          </a:prstGeom>
        </p:spPr>
      </p:pic>
    </p:spTree>
    <p:extLst>
      <p:ext uri="{BB962C8B-B14F-4D97-AF65-F5344CB8AC3E}">
        <p14:creationId xmlns:p14="http://schemas.microsoft.com/office/powerpoint/2010/main" val="13654341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FD78918-2FD0-164E-8E2B-A235A4CFF466}"/>
              </a:ext>
            </a:extLst>
          </p:cNvPr>
          <p:cNvSpPr/>
          <p:nvPr/>
        </p:nvSpPr>
        <p:spPr>
          <a:xfrm>
            <a:off x="-27993" y="-319881"/>
            <a:ext cx="2007398" cy="7445705"/>
          </a:xfrm>
          <a:custGeom>
            <a:avLst/>
            <a:gdLst>
              <a:gd name="connsiteX0" fmla="*/ 0 w 2007398"/>
              <a:gd name="connsiteY0" fmla="*/ 0 h 6960637"/>
              <a:gd name="connsiteX1" fmla="*/ 1229158 w 2007398"/>
              <a:gd name="connsiteY1" fmla="*/ 0 h 6960637"/>
              <a:gd name="connsiteX2" fmla="*/ 1229158 w 2007398"/>
              <a:gd name="connsiteY2" fmla="*/ 240560 h 6960637"/>
              <a:gd name="connsiteX3" fmla="*/ 1253531 w 2007398"/>
              <a:gd name="connsiteY3" fmla="*/ 238097 h 6960637"/>
              <a:gd name="connsiteX4" fmla="*/ 2007398 w 2007398"/>
              <a:gd name="connsiteY4" fmla="*/ 993687 h 6960637"/>
              <a:gd name="connsiteX5" fmla="*/ 1253531 w 2007398"/>
              <a:gd name="connsiteY5" fmla="*/ 1749277 h 6960637"/>
              <a:gd name="connsiteX6" fmla="*/ 1229158 w 2007398"/>
              <a:gd name="connsiteY6" fmla="*/ 1746815 h 6960637"/>
              <a:gd name="connsiteX7" fmla="*/ 1229158 w 2007398"/>
              <a:gd name="connsiteY7" fmla="*/ 6960637 h 6960637"/>
              <a:gd name="connsiteX8" fmla="*/ 0 w 2007398"/>
              <a:gd name="connsiteY8" fmla="*/ 6960637 h 6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398" h="6960637">
                <a:moveTo>
                  <a:pt x="0" y="0"/>
                </a:moveTo>
                <a:lnTo>
                  <a:pt x="1229158" y="0"/>
                </a:lnTo>
                <a:lnTo>
                  <a:pt x="1229158" y="240560"/>
                </a:lnTo>
                <a:lnTo>
                  <a:pt x="1253531" y="238097"/>
                </a:lnTo>
                <a:cubicBezTo>
                  <a:pt x="1669880" y="238097"/>
                  <a:pt x="2007398" y="576386"/>
                  <a:pt x="2007398" y="993687"/>
                </a:cubicBezTo>
                <a:cubicBezTo>
                  <a:pt x="2007398" y="1410988"/>
                  <a:pt x="1669880" y="1749277"/>
                  <a:pt x="1253531" y="1749277"/>
                </a:cubicBezTo>
                <a:lnTo>
                  <a:pt x="1229158" y="1746815"/>
                </a:lnTo>
                <a:lnTo>
                  <a:pt x="1229158" y="6960637"/>
                </a:lnTo>
                <a:lnTo>
                  <a:pt x="0" y="6960637"/>
                </a:lnTo>
                <a:close/>
              </a:path>
            </a:pathLst>
          </a:custGeom>
          <a:solidFill>
            <a:srgbClr val="009EDB"/>
          </a:solidFill>
          <a:ln>
            <a:solidFill>
              <a:srgbClr val="009E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descr="A picture containing application&#10;&#10;Description automatically generated">
            <a:extLst>
              <a:ext uri="{FF2B5EF4-FFF2-40B4-BE49-F238E27FC236}">
                <a16:creationId xmlns:a16="http://schemas.microsoft.com/office/drawing/2014/main" id="{F3080E6E-0F12-DAC1-0D4C-11FC385FAC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1788" y="5727079"/>
            <a:ext cx="2596325" cy="1680155"/>
          </a:xfrm>
          <a:prstGeom prst="rect">
            <a:avLst/>
          </a:prstGeom>
        </p:spPr>
      </p:pic>
      <p:sp>
        <p:nvSpPr>
          <p:cNvPr id="10" name="Title 26">
            <a:extLst>
              <a:ext uri="{FF2B5EF4-FFF2-40B4-BE49-F238E27FC236}">
                <a16:creationId xmlns:a16="http://schemas.microsoft.com/office/drawing/2014/main" id="{E9B8FE5A-AE54-4675-969E-BF622F732C1E}"/>
              </a:ext>
            </a:extLst>
          </p:cNvPr>
          <p:cNvSpPr txBox="1">
            <a:spLocks/>
          </p:cNvSpPr>
          <p:nvPr/>
        </p:nvSpPr>
        <p:spPr>
          <a:xfrm>
            <a:off x="2029721" y="468154"/>
            <a:ext cx="8775771" cy="1325563"/>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Roboto" panose="020B0604020202020204"/>
                <a:ea typeface="+mj-ea"/>
                <a:cs typeface="+mj-cs"/>
              </a:rPr>
              <a:t>Investment Details</a:t>
            </a:r>
          </a:p>
        </p:txBody>
      </p:sp>
      <p:sp>
        <p:nvSpPr>
          <p:cNvPr id="13" name="Text Placeholder 62">
            <a:extLst>
              <a:ext uri="{FF2B5EF4-FFF2-40B4-BE49-F238E27FC236}">
                <a16:creationId xmlns:a16="http://schemas.microsoft.com/office/drawing/2014/main" id="{2E1016D1-8798-0B34-9EB4-1F66E4C89972}"/>
              </a:ext>
            </a:extLst>
          </p:cNvPr>
          <p:cNvSpPr txBox="1">
            <a:spLocks/>
          </p:cNvSpPr>
          <p:nvPr/>
        </p:nvSpPr>
        <p:spPr>
          <a:xfrm>
            <a:off x="6466681" y="2086899"/>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Roboto" panose="020B0604020202020204"/>
              <a:ea typeface="+mn-ea"/>
              <a:cs typeface="+mn-cs"/>
            </a:endParaRPr>
          </a:p>
        </p:txBody>
      </p:sp>
      <p:sp>
        <p:nvSpPr>
          <p:cNvPr id="18" name="Text Placeholder 62">
            <a:extLst>
              <a:ext uri="{FF2B5EF4-FFF2-40B4-BE49-F238E27FC236}">
                <a16:creationId xmlns:a16="http://schemas.microsoft.com/office/drawing/2014/main" id="{BCC7EBB6-A286-BE2C-772C-D3A9CEF87B37}"/>
              </a:ext>
            </a:extLst>
          </p:cNvPr>
          <p:cNvSpPr txBox="1">
            <a:spLocks/>
          </p:cNvSpPr>
          <p:nvPr/>
        </p:nvSpPr>
        <p:spPr>
          <a:xfrm>
            <a:off x="1750595" y="2111807"/>
            <a:ext cx="9615566"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r>
              <a:rPr kumimoji="0" lang="en-US" b="1" i="0" u="none" strike="noStrike" kern="1200" cap="none" spc="0" normalizeH="0" baseline="0" noProof="0" dirty="0">
                <a:ln>
                  <a:noFill/>
                </a:ln>
                <a:solidFill>
                  <a:srgbClr val="000000"/>
                </a:solidFill>
                <a:effectLst/>
                <a:uLnTx/>
                <a:uFillTx/>
                <a:latin typeface="Roboto" panose="020B0604020202020204"/>
                <a:ea typeface="+mn-ea"/>
                <a:cs typeface="+mn-cs"/>
              </a:rPr>
              <a:t>Financial Projections</a:t>
            </a:r>
            <a:endParaRPr kumimoji="0" lang="en-US" b="0" i="0" u="none" strike="noStrike" kern="1200" cap="none" spc="0" normalizeH="0" baseline="0" noProof="0" dirty="0">
              <a:ln>
                <a:noFill/>
              </a:ln>
              <a:solidFill>
                <a:srgbClr val="000000"/>
              </a:solidFill>
              <a:effectLst/>
              <a:uLnTx/>
              <a:uFillTx/>
              <a:latin typeface="Roboto" panose="020B0604020202020204"/>
              <a:ea typeface="+mn-ea"/>
              <a:cs typeface="+mn-cs"/>
            </a:endParaRP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panose="02000000000000000000" pitchFamily="2" charset="0"/>
                <a:ea typeface="Roboto" panose="02000000000000000000" pitchFamily="2" charset="0"/>
                <a:cs typeface="Calibri"/>
              </a:rPr>
              <a:t>How will the project generate financial returns?</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panose="02000000000000000000" pitchFamily="2" charset="0"/>
                <a:ea typeface="Roboto" panose="02000000000000000000" pitchFamily="2" charset="0"/>
                <a:cs typeface="Calibri"/>
              </a:rPr>
              <a:t>What is the revenue model?</a:t>
            </a:r>
          </a:p>
          <a:p>
            <a:pPr marR="0" lvl="1" algn="l" defTabSz="914400" rtl="0" eaLnBrk="1" fontAlgn="auto" latinLnBrk="0" hangingPunct="1">
              <a:lnSpc>
                <a:spcPct val="110000"/>
              </a:lnSpc>
              <a:spcBef>
                <a:spcPts val="800"/>
              </a:spcBef>
              <a:spcAft>
                <a:spcPts val="0"/>
              </a:spcAft>
              <a:buClr>
                <a:srgbClr val="009EDB"/>
              </a:buClr>
              <a:buSzTx/>
              <a:buFont typeface="System Font Regular"/>
              <a:buChar char="-"/>
              <a:tabLst/>
              <a:defRPr/>
            </a:pPr>
            <a:r>
              <a:rPr lang="en-US" sz="1600" dirty="0">
                <a:latin typeface="Roboto" panose="02000000000000000000" pitchFamily="2" charset="0"/>
                <a:ea typeface="Roboto" panose="02000000000000000000" pitchFamily="2" charset="0"/>
                <a:cs typeface="Calibri"/>
              </a:rPr>
              <a:t>Budget breakdown</a:t>
            </a:r>
          </a:p>
          <a:p>
            <a:pPr marL="7938" marR="0" lvl="1" indent="0" algn="l" defTabSz="914400" rtl="0" eaLnBrk="1" fontAlgn="auto" latinLnBrk="0" hangingPunct="1">
              <a:lnSpc>
                <a:spcPct val="110000"/>
              </a:lnSpc>
              <a:spcBef>
                <a:spcPts val="800"/>
              </a:spcBef>
              <a:spcAft>
                <a:spcPts val="0"/>
              </a:spcAft>
              <a:buClr>
                <a:srgbClr val="009EDB"/>
              </a:buClr>
              <a:buSzTx/>
              <a:buNone/>
              <a:tabLst/>
              <a:defRPr/>
            </a:pPr>
            <a:r>
              <a:rPr lang="en-US" sz="1800" b="1" dirty="0">
                <a:solidFill>
                  <a:srgbClr val="000000"/>
                </a:solidFill>
                <a:latin typeface="Roboto" panose="020B0604020202020204"/>
              </a:rPr>
              <a:t>Economics and returns</a:t>
            </a:r>
          </a:p>
          <a:p>
            <a:pPr lvl="1">
              <a:buClr>
                <a:srgbClr val="009EDB"/>
              </a:buClr>
              <a:buFont typeface="System Font Regular"/>
              <a:buChar char="-"/>
              <a:defRPr/>
            </a:pPr>
            <a:r>
              <a:rPr lang="en-US" sz="1600" dirty="0">
                <a:latin typeface="Roboto" panose="02000000000000000000" pitchFamily="2" charset="0"/>
                <a:ea typeface="Roboto" panose="02000000000000000000" pitchFamily="2" charset="0"/>
                <a:cs typeface="Calibri"/>
              </a:rPr>
              <a:t>Total amount of funding required and expected financial return to investors.</a:t>
            </a:r>
          </a:p>
          <a:p>
            <a:pPr lvl="1">
              <a:buClr>
                <a:srgbClr val="009EDB"/>
              </a:buClr>
              <a:buFont typeface="System Font Regular"/>
              <a:buChar char="-"/>
              <a:defRPr/>
            </a:pPr>
            <a:r>
              <a:rPr lang="en-US" sz="1600" dirty="0">
                <a:latin typeface="Roboto" panose="02000000000000000000" pitchFamily="2" charset="0"/>
                <a:ea typeface="Roboto" panose="02000000000000000000" pitchFamily="2" charset="0"/>
                <a:cs typeface="Calibri"/>
              </a:rPr>
              <a:t>Timing of capital injections.</a:t>
            </a:r>
          </a:p>
          <a:p>
            <a:pPr lvl="1">
              <a:buClr>
                <a:srgbClr val="009EDB"/>
              </a:buClr>
              <a:buFont typeface="System Font Regular"/>
              <a:buChar char="-"/>
              <a:defRPr/>
            </a:pPr>
            <a:r>
              <a:rPr lang="en-US" sz="1600" dirty="0">
                <a:latin typeface="Roboto" panose="02000000000000000000" pitchFamily="2" charset="0"/>
                <a:ea typeface="Roboto" panose="02000000000000000000" pitchFamily="2" charset="0"/>
                <a:cs typeface="Calibri"/>
              </a:rPr>
              <a:t>The presentation MUST include the Internal Rate of Return (IRR),  Capital Expenditure (CAPEX), Payback Period, Risk Premium, Market Size and Net Present Value (NPV).</a:t>
            </a:r>
          </a:p>
          <a:p>
            <a:pPr lvl="1">
              <a:buClr>
                <a:srgbClr val="009EDB"/>
              </a:buClr>
              <a:buFont typeface="System Font Regular"/>
              <a:buChar char="-"/>
              <a:defRPr/>
            </a:pPr>
            <a:r>
              <a:rPr lang="en-US" sz="1600" dirty="0">
                <a:solidFill>
                  <a:srgbClr val="000000"/>
                </a:solidFill>
                <a:latin typeface="Roboto" panose="02000000000000000000" pitchFamily="2" charset="0"/>
                <a:ea typeface="Roboto" panose="02000000000000000000" pitchFamily="2" charset="0"/>
                <a:cs typeface="Calibri"/>
              </a:rPr>
              <a:t>Monetization details (Via dividends, recapitalization, buy-out, etc.)</a:t>
            </a:r>
            <a:endParaRPr lang="en-US" sz="1600" dirty="0">
              <a:solidFill>
                <a:srgbClr val="000000"/>
              </a:solidFill>
              <a:latin typeface="Roboto" panose="02000000000000000000" pitchFamily="2" charset="0"/>
              <a:ea typeface="Roboto" panose="02000000000000000000" pitchFamily="2" charset="0"/>
            </a:endParaRPr>
          </a:p>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sz="1800" b="1" i="0" u="none" strike="noStrike" kern="1200" cap="none" spc="0" normalizeH="0" baseline="0" noProof="0" dirty="0">
              <a:ln>
                <a:noFill/>
              </a:ln>
              <a:solidFill>
                <a:srgbClr val="000000"/>
              </a:solidFill>
              <a:effectLst/>
              <a:uLnTx/>
              <a:uFillTx/>
              <a:latin typeface="Roboto" panose="020B0604020202020204"/>
              <a:ea typeface="+mn-ea"/>
              <a:cs typeface="+mn-cs"/>
            </a:endParaRPr>
          </a:p>
        </p:txBody>
      </p:sp>
      <p:sp>
        <p:nvSpPr>
          <p:cNvPr id="5" name="Text Placeholder 62">
            <a:extLst>
              <a:ext uri="{FF2B5EF4-FFF2-40B4-BE49-F238E27FC236}">
                <a16:creationId xmlns:a16="http://schemas.microsoft.com/office/drawing/2014/main" id="{CF59E175-F11B-C1AA-65D0-62C1C86E531D}"/>
              </a:ext>
            </a:extLst>
          </p:cNvPr>
          <p:cNvSpPr txBox="1">
            <a:spLocks/>
          </p:cNvSpPr>
          <p:nvPr/>
        </p:nvSpPr>
        <p:spPr>
          <a:xfrm>
            <a:off x="825840" y="3655143"/>
            <a:ext cx="4264025" cy="37719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600"/>
              </a:spcBef>
              <a:buClr>
                <a:schemeClr val="accent1"/>
              </a:buClr>
              <a:buFont typeface="Arial" panose="020B0604020202020204" pitchFamily="34" charset="0"/>
              <a:buNone/>
              <a:defRPr sz="1800" b="1" kern="1200">
                <a:solidFill>
                  <a:schemeClr val="tx1"/>
                </a:solidFill>
                <a:latin typeface="+mn-lt"/>
                <a:ea typeface="+mn-ea"/>
                <a:cs typeface="+mn-cs"/>
              </a:defRPr>
            </a:lvl1pPr>
            <a:lvl2pPr marL="287338" indent="-279400" algn="l" defTabSz="914400" rtl="0" eaLnBrk="1" latinLnBrk="0" hangingPunct="1">
              <a:lnSpc>
                <a:spcPct val="110000"/>
              </a:lnSpc>
              <a:spcBef>
                <a:spcPts val="800"/>
              </a:spcBef>
              <a:buClr>
                <a:schemeClr val="accent1"/>
              </a:buClr>
              <a:buFont typeface="System Font Regular"/>
              <a:buChar char="⁃"/>
              <a:tabLst/>
              <a:defRPr sz="1400" kern="1200">
                <a:solidFill>
                  <a:schemeClr val="tx1"/>
                </a:solidFill>
                <a:latin typeface="+mn-lt"/>
                <a:ea typeface="+mn-ea"/>
                <a:cs typeface="+mn-cs"/>
              </a:defRPr>
            </a:lvl2pPr>
            <a:lvl3pPr marL="574675" indent="-287338"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3pPr>
            <a:lvl4pPr marL="862013" indent="-287338" algn="l" defTabSz="914400" rtl="0" eaLnBrk="1" latinLnBrk="0" hangingPunct="1">
              <a:lnSpc>
                <a:spcPct val="110000"/>
              </a:lnSpc>
              <a:spcBef>
                <a:spcPts val="500"/>
              </a:spcBef>
              <a:buClr>
                <a:schemeClr val="accent1"/>
              </a:buClr>
              <a:buFont typeface="System Font Regular"/>
              <a:buChar char="⁃"/>
              <a:tabLst/>
              <a:defRPr sz="1400" kern="1200">
                <a:solidFill>
                  <a:schemeClr val="tx1"/>
                </a:solidFill>
                <a:latin typeface="+mn-lt"/>
                <a:ea typeface="+mn-ea"/>
                <a:cs typeface="+mn-cs"/>
              </a:defRPr>
            </a:lvl4pPr>
            <a:lvl5pPr marL="1260475" indent="-342900" algn="l" defTabSz="914400" rtl="0" eaLnBrk="1" latinLnBrk="0" hangingPunct="1">
              <a:lnSpc>
                <a:spcPct val="110000"/>
              </a:lnSpc>
              <a:spcBef>
                <a:spcPts val="500"/>
              </a:spcBef>
              <a:buClr>
                <a:schemeClr val="accent1"/>
              </a:buClr>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600"/>
              </a:spcBef>
              <a:spcAft>
                <a:spcPts val="0"/>
              </a:spcAft>
              <a:buClr>
                <a:srgbClr val="009EDB"/>
              </a:buClr>
              <a:buSzTx/>
              <a:buFont typeface="Arial" panose="020B0604020202020204" pitchFamily="34" charset="0"/>
              <a:buNone/>
              <a:tabLst/>
              <a:defRPr/>
            </a:pPr>
            <a:endParaRPr kumimoji="0" lang="en-US" i="0" u="none" strike="noStrike" kern="1200" cap="none" spc="0" normalizeH="0" baseline="0" noProof="0">
              <a:ln>
                <a:noFill/>
              </a:ln>
              <a:solidFill>
                <a:srgbClr val="000000"/>
              </a:solidFill>
              <a:effectLst/>
              <a:uLnTx/>
              <a:uFillTx/>
              <a:latin typeface="Roboto" panose="020B0604020202020204"/>
              <a:ea typeface="+mn-ea"/>
              <a:cs typeface="+mn-cs"/>
            </a:endParaRPr>
          </a:p>
        </p:txBody>
      </p:sp>
      <p:pic>
        <p:nvPicPr>
          <p:cNvPr id="16" name="Graphic 15">
            <a:extLst>
              <a:ext uri="{FF2B5EF4-FFF2-40B4-BE49-F238E27FC236}">
                <a16:creationId xmlns:a16="http://schemas.microsoft.com/office/drawing/2014/main" id="{ECA77059-097F-B734-1B82-74B8CCE1F23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8961" y="309533"/>
            <a:ext cx="706987" cy="942649"/>
          </a:xfrm>
          <a:prstGeom prst="rect">
            <a:avLst/>
          </a:prstGeom>
        </p:spPr>
      </p:pic>
      <p:pic>
        <p:nvPicPr>
          <p:cNvPr id="19" name="Graphic 18">
            <a:extLst>
              <a:ext uri="{FF2B5EF4-FFF2-40B4-BE49-F238E27FC236}">
                <a16:creationId xmlns:a16="http://schemas.microsoft.com/office/drawing/2014/main" id="{F6C6B292-7F2C-ED7B-2850-E47153EC00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7986" y="1719006"/>
            <a:ext cx="457200" cy="457200"/>
          </a:xfrm>
          <a:prstGeom prst="rect">
            <a:avLst/>
          </a:prstGeom>
        </p:spPr>
      </p:pic>
      <p:pic>
        <p:nvPicPr>
          <p:cNvPr id="25" name="Graphic 24">
            <a:extLst>
              <a:ext uri="{FF2B5EF4-FFF2-40B4-BE49-F238E27FC236}">
                <a16:creationId xmlns:a16="http://schemas.microsoft.com/office/drawing/2014/main" id="{0B09F17B-C3B4-6E50-1F93-B69616D9708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4122" y="3106764"/>
            <a:ext cx="400050" cy="419100"/>
          </a:xfrm>
          <a:prstGeom prst="rect">
            <a:avLst/>
          </a:prstGeom>
        </p:spPr>
      </p:pic>
      <p:pic>
        <p:nvPicPr>
          <p:cNvPr id="27" name="Picture 26" descr="A picture containing window&#10;&#10;Description automatically generated">
            <a:extLst>
              <a:ext uri="{FF2B5EF4-FFF2-40B4-BE49-F238E27FC236}">
                <a16:creationId xmlns:a16="http://schemas.microsoft.com/office/drawing/2014/main" id="{4C582C9A-5382-8AFF-4BCE-CD7F086BC72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0650" y="2416769"/>
            <a:ext cx="457201" cy="457201"/>
          </a:xfrm>
          <a:prstGeom prst="rect">
            <a:avLst/>
          </a:prstGeom>
        </p:spPr>
      </p:pic>
      <p:pic>
        <p:nvPicPr>
          <p:cNvPr id="2" name="Graphic 1">
            <a:extLst>
              <a:ext uri="{FF2B5EF4-FFF2-40B4-BE49-F238E27FC236}">
                <a16:creationId xmlns:a16="http://schemas.microsoft.com/office/drawing/2014/main" id="{CDDA472B-2C90-0DDA-1985-A24281C7C58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2443" y="3756199"/>
            <a:ext cx="457201" cy="510364"/>
          </a:xfrm>
          <a:prstGeom prst="rect">
            <a:avLst/>
          </a:prstGeom>
        </p:spPr>
      </p:pic>
      <p:pic>
        <p:nvPicPr>
          <p:cNvPr id="3" name="Graphic 2">
            <a:extLst>
              <a:ext uri="{FF2B5EF4-FFF2-40B4-BE49-F238E27FC236}">
                <a16:creationId xmlns:a16="http://schemas.microsoft.com/office/drawing/2014/main" id="{53835766-EA7D-2417-246E-26F165FA25E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0072" y="4485646"/>
            <a:ext cx="457200" cy="457200"/>
          </a:xfrm>
          <a:prstGeom prst="rect">
            <a:avLst/>
          </a:prstGeom>
        </p:spPr>
      </p:pic>
      <p:pic>
        <p:nvPicPr>
          <p:cNvPr id="6" name="Graphic 5">
            <a:extLst>
              <a:ext uri="{FF2B5EF4-FFF2-40B4-BE49-F238E27FC236}">
                <a16:creationId xmlns:a16="http://schemas.microsoft.com/office/drawing/2014/main" id="{6F42F767-1E07-3461-EC0E-A5FF20C41DA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05338" y="5258890"/>
            <a:ext cx="438834" cy="438834"/>
          </a:xfrm>
          <a:prstGeom prst="rect">
            <a:avLst/>
          </a:prstGeom>
        </p:spPr>
      </p:pic>
      <p:pic>
        <p:nvPicPr>
          <p:cNvPr id="7" name="Graphic 6">
            <a:extLst>
              <a:ext uri="{FF2B5EF4-FFF2-40B4-BE49-F238E27FC236}">
                <a16:creationId xmlns:a16="http://schemas.microsoft.com/office/drawing/2014/main" id="{96DE627F-01B2-82D2-9431-8EDB210E986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34174" y="6086737"/>
            <a:ext cx="509998" cy="509998"/>
          </a:xfrm>
          <a:prstGeom prst="rect">
            <a:avLst/>
          </a:prstGeom>
        </p:spPr>
      </p:pic>
    </p:spTree>
    <p:extLst>
      <p:ext uri="{BB962C8B-B14F-4D97-AF65-F5344CB8AC3E}">
        <p14:creationId xmlns:p14="http://schemas.microsoft.com/office/powerpoint/2010/main" val="18686448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NITED NATIONS">
  <a:themeElements>
    <a:clrScheme name="UN Blue">
      <a:dk1>
        <a:srgbClr val="000000"/>
      </a:dk1>
      <a:lt1>
        <a:srgbClr val="FFFFFF"/>
      </a:lt1>
      <a:dk2>
        <a:srgbClr val="005392"/>
      </a:dk2>
      <a:lt2>
        <a:srgbClr val="E3EDF6"/>
      </a:lt2>
      <a:accent1>
        <a:srgbClr val="009EDB"/>
      </a:accent1>
      <a:accent2>
        <a:srgbClr val="009EDB"/>
      </a:accent2>
      <a:accent3>
        <a:srgbClr val="009EDB"/>
      </a:accent3>
      <a:accent4>
        <a:srgbClr val="009DDA"/>
      </a:accent4>
      <a:accent5>
        <a:srgbClr val="009EDB"/>
      </a:accent5>
      <a:accent6>
        <a:srgbClr val="009EDB"/>
      </a:accent6>
      <a:hlink>
        <a:srgbClr val="0077B8"/>
      </a:hlink>
      <a:folHlink>
        <a:srgbClr val="0077B8"/>
      </a:folHlink>
    </a:clrScheme>
    <a:fontScheme name="Roboto">
      <a:majorFont>
        <a:latin typeface="Roboto" panose="020B0604020202020204"/>
        <a:ea typeface=""/>
        <a:cs typeface=""/>
        <a:font script="Jpan" typeface="ＭＳ Ｐゴシック"/>
        <a:font script="Hang" typeface="굴림"/>
        <a:font script="Hans" typeface="黑体"/>
        <a:font script="Hant" typeface="微軟正黑體"/>
        <a:font script="Arab" typeface="Roboto"/>
        <a:font script="Hebr" typeface="Roboto"/>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Roboto"/>
        <a:font script="Uigh" typeface="Microsoft Uighur"/>
        <a:font script="Geor" typeface="Sylfaen"/>
      </a:majorFont>
      <a:minorFont>
        <a:latin typeface="Roboto" panose="020B0604020202020204"/>
        <a:ea typeface=""/>
        <a:cs typeface=""/>
        <a:font script="Jpan" typeface="ＭＳ Ｐゴシック"/>
        <a:font script="Hang" typeface="굴림"/>
        <a:font script="Hans" typeface="黑体"/>
        <a:font script="Hant" typeface="微軟正黑體"/>
        <a:font script="Arab" typeface="Roboto"/>
        <a:font script="Hebr" typeface="Roboto"/>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Roboto"/>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A9A311EA-2D14-CC48-A4AB-45FBD7B83085}" vid="{00808C4D-DE7C-554F-8A9A-AC4D9F6F7DE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c7f4051-4670-4f2b-aac4-7c0a77b2a7b1" xsi:nil="true"/>
    <lcf76f155ced4ddcb4097134ff3c332f xmlns="5435c388-6552-4fa5-a845-ba9550c2df0a">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65BB94CFD726042B9B679619231C10C" ma:contentTypeVersion="15" ma:contentTypeDescription="Create a new document." ma:contentTypeScope="" ma:versionID="a6e9ec519abc42d369ff57927b25be77">
  <xsd:schema xmlns:xsd="http://www.w3.org/2001/XMLSchema" xmlns:xs="http://www.w3.org/2001/XMLSchema" xmlns:p="http://schemas.microsoft.com/office/2006/metadata/properties" xmlns:ns2="5435c388-6552-4fa5-a845-ba9550c2df0a" xmlns:ns3="6c7f4051-4670-4f2b-aac4-7c0a77b2a7b1" targetNamespace="http://schemas.microsoft.com/office/2006/metadata/properties" ma:root="true" ma:fieldsID="c30dea6e2d9d1302759ea6876b0744df" ns2:_="" ns3:_="">
    <xsd:import namespace="5435c388-6552-4fa5-a845-ba9550c2df0a"/>
    <xsd:import namespace="6c7f4051-4670-4f2b-aac4-7c0a77b2a7b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35c388-6552-4fa5-a845-ba9550c2df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7f4051-4670-4f2b-aac4-7c0a77b2a7b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cfe7bc9-45c3-4da2-9ea5-10fea786729e}" ma:internalName="TaxCatchAll" ma:showField="CatchAllData" ma:web="6c7f4051-4670-4f2b-aac4-7c0a77b2a7b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FCABCF-90D5-4C05-ABE2-F92DE52B62E0}">
  <ds:schemaRefs>
    <ds:schemaRef ds:uri="http://www.w3.org/XML/1998/namespace"/>
    <ds:schemaRef ds:uri="6c7f4051-4670-4f2b-aac4-7c0a77b2a7b1"/>
    <ds:schemaRef ds:uri="http://purl.org/dc/dcmityp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purl.org/dc/elements/1.1/"/>
    <ds:schemaRef ds:uri="5435c388-6552-4fa5-a845-ba9550c2df0a"/>
    <ds:schemaRef ds:uri="http://schemas.microsoft.com/office/2006/metadata/properties"/>
  </ds:schemaRefs>
</ds:datastoreItem>
</file>

<file path=customXml/itemProps2.xml><?xml version="1.0" encoding="utf-8"?>
<ds:datastoreItem xmlns:ds="http://schemas.openxmlformats.org/officeDocument/2006/customXml" ds:itemID="{E7A8A744-55CB-46B8-8C53-23CA77ACC77B}">
  <ds:schemaRefs>
    <ds:schemaRef ds:uri="5435c388-6552-4fa5-a845-ba9550c2df0a"/>
    <ds:schemaRef ds:uri="6c7f4051-4670-4f2b-aac4-7c0a77b2a7b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013E83E-94E5-4C4F-9818-8DD15BB906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884</Words>
  <Application>Microsoft Office PowerPoint</Application>
  <PresentationFormat>Widescreen</PresentationFormat>
  <Paragraphs>109</Paragraphs>
  <Slides>14</Slides>
  <Notes>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5" baseType="lpstr">
      <vt:lpstr>System Font Regular</vt:lpstr>
      <vt:lpstr>Arial</vt:lpstr>
      <vt:lpstr>Calibri</vt:lpstr>
      <vt:lpstr>Calibri Light</vt:lpstr>
      <vt:lpstr>Montserrat</vt:lpstr>
      <vt:lpstr>Roboto</vt:lpstr>
      <vt:lpstr>Roboto Black</vt:lpstr>
      <vt:lpstr>Office Theme</vt:lpstr>
      <vt:lpstr>Custom Design</vt:lpstr>
      <vt:lpstr>UNITED NATION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Willem Lammens</dc:creator>
  <cp:lastModifiedBy>Munashe Miranda Mataranyika</cp:lastModifiedBy>
  <cp:revision>1</cp:revision>
  <dcterms:created xsi:type="dcterms:W3CDTF">2019-04-05T03:01:40Z</dcterms:created>
  <dcterms:modified xsi:type="dcterms:W3CDTF">2023-11-30T21:1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5BB94CFD726042B9B679619231C10C</vt:lpwstr>
  </property>
  <property fmtid="{D5CDD505-2E9C-101B-9397-08002B2CF9AE}" pid="3" name="MediaServiceImageTags">
    <vt:lpwstr/>
  </property>
</Properties>
</file>